
<file path=[Content_Types].xml><?xml version="1.0" encoding="utf-8"?>
<Types xmlns="http://schemas.openxmlformats.org/package/2006/content-types">
  <Default Extension="jpeg" ContentType="image/jpeg"/>
  <Default Extension="jp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media/image2.jpg" ContentType="image/jpeg"/>
  <Override PartName="/ppt/media/image3.jpg" ContentType="image/jpeg"/>
  <Override PartName="/ppt/media/image4.jpg" ContentType="image/jpeg"/>
  <Override PartName="/ppt/media/image5.jpg" ContentType="image/jpeg"/>
  <Override PartName="/ppt/media/image6.jpg" ContentType="image/jpeg"/>
  <Override PartName="/ppt/media/image7.jpg" ContentType="image/jpeg"/>
  <Override PartName="/ppt/media/image8.jpg" ContentType="image/jpeg"/>
  <Override PartName="/ppt/media/image9.jpg" ContentType="image/jpeg"/>
  <Override PartName="/ppt/media/image10.jpg" ContentType="image/jpeg"/>
  <Override PartName="/ppt/media/image11.jpg" ContentType="image/jpeg"/>
  <Override PartName="/ppt/media/image12.jpg" ContentType="image/jpeg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5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2.xml" ContentType="application/vnd.openxmlformats-officedocument.themeOverr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3.xml" ContentType="application/vnd.openxmlformats-officedocument.themeOverr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4.xml" ContentType="application/vnd.openxmlformats-officedocument.themeOverr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5.xml" ContentType="application/vnd.openxmlformats-officedocument.themeOverr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6.xml" ContentType="application/vnd.openxmlformats-officedocument.themeOverr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7.xml" ContentType="application/vnd.openxmlformats-officedocument.themeOverr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heme/themeOverride8.xml" ContentType="application/vnd.openxmlformats-officedocument.themeOverr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heme/themeOverride9.xml" ContentType="application/vnd.openxmlformats-officedocument.themeOverr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heme/themeOverride10.xml" ContentType="application/vnd.openxmlformats-officedocument.themeOverrid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heme/themeOverride11.xml" ContentType="application/vnd.openxmlformats-officedocument.themeOverrid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heme/themeOverride1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1"/>
  </p:notesMasterIdLst>
  <p:sldIdLst>
    <p:sldId id="12412" r:id="rId5"/>
    <p:sldId id="12455" r:id="rId6"/>
    <p:sldId id="12459" r:id="rId7"/>
    <p:sldId id="12472" r:id="rId8"/>
    <p:sldId id="12466" r:id="rId9"/>
    <p:sldId id="12530" r:id="rId10"/>
  </p:sldIdLst>
  <p:sldSz cx="9144000" cy="5143500" type="screen16x9"/>
  <p:notesSz cx="6858000" cy="9144000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BDD"/>
    <a:srgbClr val="404955"/>
    <a:srgbClr val="B3B6BB"/>
    <a:srgbClr val="9FA4AA"/>
    <a:srgbClr val="8C9299"/>
    <a:srgbClr val="666D77"/>
    <a:srgbClr val="D8DADC"/>
    <a:srgbClr val="272C32"/>
    <a:srgbClr val="8995A3"/>
    <a:srgbClr val="3B42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66" autoAdjust="0"/>
    <p:restoredTop sz="94691" autoAdjust="0"/>
  </p:normalViewPr>
  <p:slideViewPr>
    <p:cSldViewPr snapToGrid="0" showGuides="1">
      <p:cViewPr varScale="1">
        <p:scale>
          <a:sx n="104" d="100"/>
          <a:sy n="104" d="100"/>
        </p:scale>
        <p:origin x="1224" y="51"/>
      </p:cViewPr>
      <p:guideLst/>
    </p:cSldViewPr>
  </p:slideViewPr>
  <p:outlineViewPr>
    <p:cViewPr>
      <p:scale>
        <a:sx n="33" d="100"/>
        <a:sy n="33" d="100"/>
      </p:scale>
      <p:origin x="0" y="-669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22.xml"/><Relationship Id="rId1" Type="http://schemas.microsoft.com/office/2011/relationships/chartStyle" Target="style22.xml"/><Relationship Id="rId4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package" Target="../embeddings/Microsoft_Excel_Worksheet23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1C1-4374-9D9B-9DBE7211B7A8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1C1-4374-9D9B-9DBE7211B7A8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1C1-4374-9D9B-9DBE7211B7A8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1C1-4374-9D9B-9DBE7211B7A8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5</c:v>
                </c:pt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1C1-4374-9D9B-9DBE7211B7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72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BB8-4BEC-B988-47067382F52C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BB8-4BEC-B988-47067382F52C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BB8-4BEC-B988-47067382F52C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BB8-4BEC-B988-47067382F52C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BB8-4BEC-B988-47067382F5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02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177-4ED3-A1A2-626BF917E942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177-4ED3-A1A2-626BF917E942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177-4ED3-A1A2-626BF917E942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177-4ED3-A1A2-626BF917E942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61.4</c:v>
                </c:pt>
                <c:pt idx="1">
                  <c:v>3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177-4ED3-A1A2-626BF917E9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14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rgbClr val="D4DB12"/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15-49CB-BD0D-B5E1DD990071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15-49CB-BD0D-B5E1DD990071}"/>
              </c:ext>
            </c:extLst>
          </c:dPt>
          <c:dPt>
            <c:idx val="2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15-49CB-BD0D-B5E1DD990071}"/>
              </c:ext>
            </c:extLst>
          </c:dPt>
          <c:dPt>
            <c:idx val="3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915-49CB-BD0D-B5E1DD990071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9.400000000000006</c:v>
                </c:pt>
                <c:pt idx="1">
                  <c:v>2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915-49CB-BD0D-B5E1DD9900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3</c:v>
                </c:pt>
                <c:pt idx="1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67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6.400000000000006</c:v>
                </c:pt>
                <c:pt idx="1">
                  <c:v>23.4</c:v>
                </c:pt>
                <c:pt idx="2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68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7</c:v>
                </c:pt>
                <c:pt idx="1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74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5</c:v>
                </c:pt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63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4</c:v>
                </c:pt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65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9.400000000000006</c:v>
                </c:pt>
                <c:pt idx="1">
                  <c:v>20.399999999999999</c:v>
                </c:pt>
                <c:pt idx="2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68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7</c:v>
                </c:pt>
                <c:pt idx="1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79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solidFill>
                  <a:srgbClr val="D4DB1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6D-45AC-B3DB-7113D265D7C9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C6D-45AC-B3DB-7113D265D7C9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C6D-45AC-B3DB-7113D265D7C9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C6D-45AC-B3DB-7113D265D7C9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6.400000000000006</c:v>
                </c:pt>
                <c:pt idx="1">
                  <c:v>20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C6D-45AC-B3DB-7113D265D7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7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53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66</c:v>
                </c:pt>
                <c:pt idx="1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95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61.4</c:v>
                </c:pt>
                <c:pt idx="1">
                  <c:v>38.5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1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69</c:v>
                </c:pt>
                <c:pt idx="1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8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B73-48E5-949B-C693725B8B47}"/>
              </c:ext>
            </c:extLst>
          </c:dPt>
          <c:dPt>
            <c:idx val="1"/>
            <c:bubble3D val="0"/>
            <c:spPr>
              <a:solidFill>
                <a:srgbClr val="D9331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73-48E5-949B-C693725B8B47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73-48E5-949B-C693725B8B47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73-48E5-949B-C693725B8B47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B73-48E5-949B-C693725B8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8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F79-46F2-988B-7135D9C8FF9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F79-46F2-988B-7135D9C8FF9D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F79-46F2-988B-7135D9C8FF9D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F79-46F2-988B-7135D9C8FF9D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7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F79-46F2-988B-7135D9C8FF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74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1F6-4D24-912F-B6ED1E41A335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1F6-4D24-912F-B6ED1E41A335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1F6-4D24-912F-B6ED1E41A335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1F6-4D24-912F-B6ED1E41A335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1F6-4D24-912F-B6ED1E41A3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63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CCD-4A1A-92E3-23BABEBEF422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CCD-4A1A-92E3-23BABEBEF422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CCD-4A1A-92E3-23BABEBEF422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CCD-4A1A-92E3-23BABEBEF422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2.400000000000006</c:v>
                </c:pt>
                <c:pt idx="1">
                  <c:v>27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CCD-4A1A-92E3-23BABEBEF4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9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03E-473D-9064-535DE600AF76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03E-473D-9064-535DE600AF76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03E-473D-9064-535DE600AF76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03E-473D-9064-535DE600AF76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03E-473D-9064-535DE600AF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7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BC-426C-8F18-9EB8911DD784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9BC-426C-8F18-9EB8911DD784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9BC-426C-8F18-9EB8911DD784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9BC-426C-8F18-9EB8911DD784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66.7</c:v>
                </c:pt>
                <c:pt idx="1">
                  <c:v>33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9BC-426C-8F18-9EB8911DD7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1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33787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39F-4306-8A08-E85A9A46005C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39F-4306-8A08-E85A9A46005C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39F-4306-8A08-E85A9A46005C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39F-4306-8A08-E85A9A46005C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80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39F-4306-8A08-E85A9A4600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3784650806572038E-3"/>
          <c:w val="0.9930016835016835"/>
          <c:h val="0.9982410636589923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D4DB1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EDC-475F-886D-A1C9B2A72803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EDC-475F-886D-A1C9B2A72803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EDC-475F-886D-A1C9B2A72803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EDC-475F-886D-A1C9B2A72803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72.8</c:v>
                </c:pt>
                <c:pt idx="1">
                  <c:v>2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EDC-475F-886D-A1C9B2A728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91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85C8723-12EA-4836-8FDC-692B5A16ABA7}" type="datetimeFigureOut">
              <a:rPr lang="en-GB" smtClean="0"/>
              <a:pPr/>
              <a:t>20-11-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68292E8-6B7D-4199-83EB-00DE15AFF5A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173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0502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9614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8728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33265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6664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8067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8498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17699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F869866-9C2A-BF79-CA16-02A1F52EE8FC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5065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C7123F5-C72F-0CB6-E917-DA56ADEC7A15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F9C4199-C6AC-73B2-7D11-7A29B0AB814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C4C58663-3FD8-5259-92CD-F11FEEFD3C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83395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37766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44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marL="0" lvl="0"/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67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149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E2E8E66-489E-32F7-42A1-41B5096D25F8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68C71D9B-3390-74D0-E95D-7B30A72C7C3D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B77D430-E87B-310B-E3BE-DBD1F33EF42D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4C636938-5352-9AF5-9CB3-6B7E7256D7E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A1247BF3-92BC-7C54-37E6-3D3B4B1753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77440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1" y="1023939"/>
            <a:ext cx="3888000" cy="3563936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by click or drag &amp; drop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8157648-515A-D1B5-134E-DEC71E90FB48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AC1BF25-E6D9-6B9F-26E5-02892A6DA4F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E5865E5-01DF-3B09-ED88-724F1FAB44C3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8151D5C1-BAF0-DDA3-EE76-C6F264F978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56581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2" y="0"/>
            <a:ext cx="4230898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  <a:endParaRPr lang="en-GB" sz="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>
            <a:lvl3pPr>
              <a:defRPr/>
            </a:lvl3pPr>
          </a:lstStyle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BF77460-C0EB-A994-5886-0A974DA59062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AAD09846-2214-27B4-826C-CB05CBB83834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59024B14-472F-BF2D-2815-8CB79E3572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82336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3998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6C0879E9-BFEF-C349-C713-C1855D3613B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86701" y="1479553"/>
            <a:ext cx="8114400" cy="31068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Insert chart by click</a:t>
            </a:r>
          </a:p>
        </p:txBody>
      </p:sp>
    </p:spTree>
    <p:extLst>
      <p:ext uri="{BB962C8B-B14F-4D97-AF65-F5344CB8AC3E}">
        <p14:creationId xmlns:p14="http://schemas.microsoft.com/office/powerpoint/2010/main" val="26454924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B7548A03-C3E4-EE67-1091-578BF14CDA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B9A14ED-FDE8-2DA8-D296-27673B8D1A1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A0D4F8F-FECA-B3D7-D435-E79C4E17191C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05E8A595-8D84-2D41-50A3-7C6BD341E2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2988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2177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AA23E33-4616-A578-6786-DB1BF1C3FD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5143500"/>
          </a:xfrm>
          <a:custGeom>
            <a:avLst/>
            <a:gdLst>
              <a:gd name="connsiteX0" fmla="*/ 342900 w 9143995"/>
              <a:gd name="connsiteY0" fmla="*/ 340872 h 5143500"/>
              <a:gd name="connsiteX1" fmla="*/ 342900 w 9143995"/>
              <a:gd name="connsiteY1" fmla="*/ 682872 h 5143500"/>
              <a:gd name="connsiteX2" fmla="*/ 1025873 w 9143995"/>
              <a:gd name="connsiteY2" fmla="*/ 682872 h 5143500"/>
              <a:gd name="connsiteX3" fmla="*/ 1025873 w 9143995"/>
              <a:gd name="connsiteY3" fmla="*/ 340872 h 5143500"/>
              <a:gd name="connsiteX4" fmla="*/ 0 w 9143995"/>
              <a:gd name="connsiteY4" fmla="*/ 0 h 5143500"/>
              <a:gd name="connsiteX5" fmla="*/ 9143995 w 9143995"/>
              <a:gd name="connsiteY5" fmla="*/ 0 h 5143500"/>
              <a:gd name="connsiteX6" fmla="*/ 9143995 w 9143995"/>
              <a:gd name="connsiteY6" fmla="*/ 5143500 h 5143500"/>
              <a:gd name="connsiteX7" fmla="*/ 0 w 9143995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51435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5143500"/>
                </a:lnTo>
                <a:lnTo>
                  <a:pt x="0" y="51435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DF64C113-52EE-846A-8828-23E9EA7D6D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701" y="3567216"/>
            <a:ext cx="8114400" cy="92333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de-DE" sz="2000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lang="de-DE" sz="1800" dirty="0" smtClean="0">
                <a:solidFill>
                  <a:schemeClr val="lt1"/>
                </a:solidFill>
              </a:defRPr>
            </a:lvl2pPr>
            <a:lvl3pPr>
              <a:defRPr lang="de-DE" sz="1800" dirty="0" smtClean="0">
                <a:solidFill>
                  <a:schemeClr val="lt1"/>
                </a:solidFill>
              </a:defRPr>
            </a:lvl3pPr>
            <a:lvl4pPr>
              <a:defRPr lang="de-DE" sz="1800" dirty="0" smtClean="0">
                <a:solidFill>
                  <a:schemeClr val="lt1"/>
                </a:solidFill>
              </a:defRPr>
            </a:lvl4pPr>
            <a:lvl5pPr>
              <a:defRPr lang="en-GB" sz="1800" dirty="0">
                <a:solidFill>
                  <a:schemeClr val="lt1"/>
                </a:solidFill>
              </a:defRPr>
            </a:lvl5pPr>
          </a:lstStyle>
          <a:p>
            <a:pPr lvl="0" defTabSz="457200"/>
            <a:r>
              <a:rPr lang="en-GB" dirty="0"/>
              <a:t>Author</a:t>
            </a:r>
            <a:br>
              <a:rPr lang="en-GB" dirty="0"/>
            </a:br>
            <a:r>
              <a:rPr lang="en-GB" dirty="0"/>
              <a:t>(xxxx – xxxx)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91D8BB96-81E8-6115-5996-0E8936014C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701" y="1923371"/>
            <a:ext cx="8114400" cy="1477328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marL="144000" indent="-144000" defTabSz="914126"/>
            <a:r>
              <a:rPr lang="en-GB" dirty="0"/>
              <a:t>quotation</a:t>
            </a:r>
          </a:p>
        </p:txBody>
      </p:sp>
    </p:spTree>
    <p:extLst>
      <p:ext uri="{BB962C8B-B14F-4D97-AF65-F5344CB8AC3E}">
        <p14:creationId xmlns:p14="http://schemas.microsoft.com/office/powerpoint/2010/main" val="3104756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B5D331F-662C-B228-A57E-2B659E5222FC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E4AD116-C40E-F67F-ACC4-797445D2DA2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FA1099DB-746B-DA36-6B2D-1414AFD656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68807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picture by click or drag &amp; drop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Click to edit </a:t>
            </a:r>
            <a:r>
              <a:rPr lang="en-GB"/>
              <a:t>chapter title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57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3592F6BB-121D-97D7-11F5-8E348780690E}"/>
              </a:ext>
            </a:extLst>
          </p:cNvPr>
          <p:cNvSpPr/>
          <p:nvPr userDrawn="1"/>
        </p:nvSpPr>
        <p:spPr>
          <a:xfrm>
            <a:off x="0" y="4873500"/>
            <a:ext cx="9144000" cy="27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 dirty="0"/>
              <a:t>Insert picture by click or drag &amp; dro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r>
              <a:rPr lang="en-GB"/>
              <a:t>chapter title</a:t>
            </a:r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624E0E8-0F64-4008-5211-19B70D70425F}"/>
              </a:ext>
            </a:extLst>
          </p:cNvPr>
          <p:cNvSpPr/>
          <p:nvPr userDrawn="1"/>
        </p:nvSpPr>
        <p:spPr>
          <a:xfrm>
            <a:off x="0" y="4891500"/>
            <a:ext cx="9144000" cy="25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72FCAAB-DD03-6ABF-CF6D-DA05A040325F}"/>
              </a:ext>
            </a:extLst>
          </p:cNvPr>
          <p:cNvCxnSpPr>
            <a:cxnSpLocks/>
          </p:cNvCxnSpPr>
          <p:nvPr userDrawn="1"/>
        </p:nvCxnSpPr>
        <p:spPr>
          <a:xfrm>
            <a:off x="0" y="4869074"/>
            <a:ext cx="9144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795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4">
            <a:extLst>
              <a:ext uri="{FF2B5EF4-FFF2-40B4-BE49-F238E27FC236}">
                <a16:creationId xmlns:a16="http://schemas.microsoft.com/office/drawing/2014/main" id="{C9A5E3F6-13DB-2142-2A56-E184F2E756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701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chapter title</a:t>
            </a:r>
            <a:endParaRPr lang="en-US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5682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158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1359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07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3505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8699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375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272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701" y="804213"/>
            <a:ext cx="8114400" cy="5539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701" y="1479553"/>
            <a:ext cx="8114400" cy="31083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44000" lvl="0" indent="-144000" defTabSz="914126"/>
            <a:r>
              <a:rPr lang="en-US"/>
              <a:t>Click to edit Master text styles</a:t>
            </a:r>
          </a:p>
          <a:p>
            <a:pPr marL="144000" lvl="1" indent="-144000" defTabSz="914126"/>
            <a:r>
              <a:rPr lang="en-US"/>
              <a:t>Second level</a:t>
            </a:r>
          </a:p>
          <a:p>
            <a:pPr marL="144000" lvl="2" indent="-144000" defTabSz="914126"/>
            <a:r>
              <a:rPr lang="en-US"/>
              <a:t>Third level</a:t>
            </a:r>
          </a:p>
          <a:p>
            <a:pPr marL="144000" lvl="3" indent="-144000" defTabSz="914126"/>
            <a:r>
              <a:rPr lang="en-US"/>
              <a:t>Fourth level</a:t>
            </a:r>
          </a:p>
          <a:p>
            <a:pPr marL="144000" lvl="4" indent="-144000" defTabSz="914126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lang="en-GB" sz="1000" b="1" cap="all" baseline="0" dirty="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6EAC15D-B94B-4B86-ABD3-3EDECDB333F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8BC8D06-86AA-9E42-9000-CE1B92C51668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 t="215"/>
          <a:stretch>
            <a:fillRect/>
          </a:stretch>
        </p:blipFill>
        <p:spPr>
          <a:xfrm>
            <a:off x="342900" y="340872"/>
            <a:ext cx="682973" cy="342000"/>
          </a:xfrm>
          <a:custGeom>
            <a:avLst/>
            <a:gdLst>
              <a:gd name="connsiteX0" fmla="*/ 0 w 6782650"/>
              <a:gd name="connsiteY0" fmla="*/ 0 h 3396425"/>
              <a:gd name="connsiteX1" fmla="*/ 6782650 w 6782650"/>
              <a:gd name="connsiteY1" fmla="*/ 0 h 3396425"/>
              <a:gd name="connsiteX2" fmla="*/ 6782650 w 6782650"/>
              <a:gd name="connsiteY2" fmla="*/ 3396425 h 3396425"/>
              <a:gd name="connsiteX3" fmla="*/ 0 w 6782650"/>
              <a:gd name="connsiteY3" fmla="*/ 3396425 h 3396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82650" h="3396425">
                <a:moveTo>
                  <a:pt x="0" y="0"/>
                </a:moveTo>
                <a:lnTo>
                  <a:pt x="6782650" y="0"/>
                </a:lnTo>
                <a:lnTo>
                  <a:pt x="6782650" y="3396425"/>
                </a:lnTo>
                <a:lnTo>
                  <a:pt x="0" y="3396425"/>
                </a:lnTo>
                <a:close/>
              </a:path>
            </a:pathLst>
          </a:custGeom>
          <a:ln w="63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743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19" r:id="rId12"/>
    <p:sldLayoutId id="2147483692" r:id="rId13"/>
    <p:sldLayoutId id="2147483662" r:id="rId14"/>
    <p:sldLayoutId id="2147483664" r:id="rId15"/>
    <p:sldLayoutId id="2147483673" r:id="rId16"/>
    <p:sldLayoutId id="2147483681" r:id="rId17"/>
    <p:sldLayoutId id="2147483733" r:id="rId18"/>
    <p:sldLayoutId id="2147483675" r:id="rId19"/>
    <p:sldLayoutId id="2147483704" r:id="rId20"/>
    <p:sldLayoutId id="2147483693" r:id="rId21"/>
    <p:sldLayoutId id="2147483683" r:id="rId22"/>
    <p:sldLayoutId id="2147483731" r:id="rId23"/>
    <p:sldLayoutId id="2147483732" r:id="rId24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ts val="0"/>
        </a:spcBef>
        <a:buNone/>
        <a:defRPr sz="1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4" userDrawn="1">
          <p15:clr>
            <a:srgbClr val="F26B43"/>
          </p15:clr>
        </p15:guide>
        <p15:guide id="2" orient="horz" pos="430" userDrawn="1">
          <p15:clr>
            <a:srgbClr val="F26B43"/>
          </p15:clr>
        </p15:guide>
        <p15:guide id="3" pos="431" userDrawn="1">
          <p15:clr>
            <a:srgbClr val="F26B43"/>
          </p15:clr>
        </p15:guide>
        <p15:guide id="4" pos="645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  <p15:guide id="7" pos="5544" userDrawn="1">
          <p15:clr>
            <a:srgbClr val="F26B43"/>
          </p15:clr>
        </p15:guide>
        <p15:guide id="8" orient="horz" pos="929" userDrawn="1">
          <p15:clr>
            <a:srgbClr val="F26B43"/>
          </p15:clr>
        </p15:guide>
        <p15:guide id="9" orient="horz" pos="8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13" Type="http://schemas.openxmlformats.org/officeDocument/2006/relationships/chart" Target="../charts/chart11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12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4.xml"/><Relationship Id="rId11" Type="http://schemas.openxmlformats.org/officeDocument/2006/relationships/chart" Target="../charts/chart9.xml"/><Relationship Id="rId5" Type="http://schemas.openxmlformats.org/officeDocument/2006/relationships/chart" Target="../charts/chart3.xml"/><Relationship Id="rId10" Type="http://schemas.openxmlformats.org/officeDocument/2006/relationships/chart" Target="../charts/chart8.xml"/><Relationship Id="rId4" Type="http://schemas.openxmlformats.org/officeDocument/2006/relationships/chart" Target="../charts/chart2.xml"/><Relationship Id="rId9" Type="http://schemas.openxmlformats.org/officeDocument/2006/relationships/chart" Target="../charts/chart7.xml"/><Relationship Id="rId14" Type="http://schemas.openxmlformats.org/officeDocument/2006/relationships/chart" Target="../charts/char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13" Type="http://schemas.openxmlformats.org/officeDocument/2006/relationships/chart" Target="../charts/chart23.xml"/><Relationship Id="rId3" Type="http://schemas.openxmlformats.org/officeDocument/2006/relationships/chart" Target="../charts/chart13.xml"/><Relationship Id="rId7" Type="http://schemas.openxmlformats.org/officeDocument/2006/relationships/chart" Target="../charts/chart17.xml"/><Relationship Id="rId12" Type="http://schemas.openxmlformats.org/officeDocument/2006/relationships/chart" Target="../charts/chart2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16.xml"/><Relationship Id="rId11" Type="http://schemas.openxmlformats.org/officeDocument/2006/relationships/chart" Target="../charts/chart21.xml"/><Relationship Id="rId5" Type="http://schemas.openxmlformats.org/officeDocument/2006/relationships/chart" Target="../charts/chart15.xml"/><Relationship Id="rId10" Type="http://schemas.openxmlformats.org/officeDocument/2006/relationships/chart" Target="../charts/chart20.xml"/><Relationship Id="rId4" Type="http://schemas.openxmlformats.org/officeDocument/2006/relationships/chart" Target="../charts/chart14.xml"/><Relationship Id="rId9" Type="http://schemas.openxmlformats.org/officeDocument/2006/relationships/chart" Target="../charts/chart19.xml"/><Relationship Id="rId14" Type="http://schemas.openxmlformats.org/officeDocument/2006/relationships/chart" Target="../charts/char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26">
            <a:extLst>
              <a:ext uri="{FF2B5EF4-FFF2-40B4-BE49-F238E27FC236}">
                <a16:creationId xmlns:a16="http://schemas.microsoft.com/office/drawing/2014/main" id="{E0A11B2B-1463-3D77-3EFB-4745E86061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br>
              <a:rPr lang="en-GB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am Administration</a:t>
            </a:r>
            <a:r>
              <a:rPr lang="en-GB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GB" dirty="0"/>
          </a:p>
        </p:txBody>
      </p:sp>
      <p:sp>
        <p:nvSpPr>
          <p:cNvPr id="28" name="Untertitel 27">
            <a:extLst>
              <a:ext uri="{FF2B5EF4-FFF2-40B4-BE49-F238E27FC236}">
                <a16:creationId xmlns:a16="http://schemas.microsoft.com/office/drawing/2014/main" id="{1541D513-1CDB-1B7B-3E8C-EC5D68196A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Jakob Kofoed Principal Advisor DG5</a:t>
            </a:r>
          </a:p>
        </p:txBody>
      </p:sp>
    </p:spTree>
    <p:extLst>
      <p:ext uri="{BB962C8B-B14F-4D97-AF65-F5344CB8AC3E}">
        <p14:creationId xmlns:p14="http://schemas.microsoft.com/office/powerpoint/2010/main" val="2289747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2">
            <a:extLst>
              <a:ext uri="{FF2B5EF4-FFF2-40B4-BE49-F238E27FC236}">
                <a16:creationId xmlns:a16="http://schemas.microsoft.com/office/drawing/2014/main" id="{C31D1F81-69ED-46A5-3C8B-B88E62DD1EC9}"/>
              </a:ext>
            </a:extLst>
          </p:cNvPr>
          <p:cNvSpPr>
            <a:spLocks/>
          </p:cNvSpPr>
          <p:nvPr/>
        </p:nvSpPr>
        <p:spPr bwMode="auto">
          <a:xfrm>
            <a:off x="1291572" y="2837778"/>
            <a:ext cx="6019437" cy="1145359"/>
          </a:xfrm>
          <a:custGeom>
            <a:avLst/>
            <a:gdLst>
              <a:gd name="T0" fmla="*/ 1055 w 1055"/>
              <a:gd name="T1" fmla="*/ 454 h 454"/>
              <a:gd name="T2" fmla="*/ 165 w 1055"/>
              <a:gd name="T3" fmla="*/ 454 h 454"/>
              <a:gd name="T4" fmla="*/ 0 w 1055"/>
              <a:gd name="T5" fmla="*/ 313 h 454"/>
              <a:gd name="T6" fmla="*/ 0 w 1055"/>
              <a:gd name="T7" fmla="*/ 142 h 454"/>
              <a:gd name="T8" fmla="*/ 165 w 1055"/>
              <a:gd name="T9" fmla="*/ 0 h 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5" h="454">
                <a:moveTo>
                  <a:pt x="1055" y="454"/>
                </a:moveTo>
                <a:cubicBezTo>
                  <a:pt x="165" y="454"/>
                  <a:pt x="165" y="454"/>
                  <a:pt x="165" y="454"/>
                </a:cubicBezTo>
                <a:cubicBezTo>
                  <a:pt x="52" y="454"/>
                  <a:pt x="0" y="391"/>
                  <a:pt x="0" y="313"/>
                </a:cubicBezTo>
                <a:cubicBezTo>
                  <a:pt x="0" y="142"/>
                  <a:pt x="0" y="142"/>
                  <a:pt x="0" y="142"/>
                </a:cubicBezTo>
                <a:cubicBezTo>
                  <a:pt x="0" y="64"/>
                  <a:pt x="52" y="0"/>
                  <a:pt x="165" y="0"/>
                </a:cubicBezTo>
              </a:path>
            </a:pathLst>
          </a:custGeom>
          <a:noFill/>
          <a:ln w="57150" cap="rnd">
            <a:solidFill>
              <a:schemeClr val="accent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en-GB" sz="1800" dirty="0">
              <a:solidFill>
                <a:srgbClr val="404955"/>
              </a:solidFill>
              <a:latin typeface="Arial"/>
            </a:endParaRPr>
          </a:p>
        </p:txBody>
      </p:sp>
      <p:grpSp>
        <p:nvGrpSpPr>
          <p:cNvPr id="6" name="Gruppieren 236">
            <a:extLst>
              <a:ext uri="{FF2B5EF4-FFF2-40B4-BE49-F238E27FC236}">
                <a16:creationId xmlns:a16="http://schemas.microsoft.com/office/drawing/2014/main" id="{FF63F379-6EFB-687F-3920-D157DEA0E0AD}"/>
              </a:ext>
            </a:extLst>
          </p:cNvPr>
          <p:cNvGrpSpPr/>
          <p:nvPr/>
        </p:nvGrpSpPr>
        <p:grpSpPr>
          <a:xfrm>
            <a:off x="709469" y="1693115"/>
            <a:ext cx="7431801" cy="1144291"/>
            <a:chOff x="684213" y="1508029"/>
            <a:chExt cx="5195264" cy="1261721"/>
          </a:xfrm>
        </p:grpSpPr>
        <p:sp>
          <p:nvSpPr>
            <p:cNvPr id="7" name="Freeform 160">
              <a:extLst>
                <a:ext uri="{FF2B5EF4-FFF2-40B4-BE49-F238E27FC236}">
                  <a16:creationId xmlns:a16="http://schemas.microsoft.com/office/drawing/2014/main" id="{4261505E-5724-E569-AFDE-0708D6BD2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1339" y="1508029"/>
              <a:ext cx="4298138" cy="1261721"/>
            </a:xfrm>
            <a:custGeom>
              <a:avLst/>
              <a:gdLst>
                <a:gd name="T0" fmla="*/ 0 w 1116"/>
                <a:gd name="T1" fmla="*/ 0 h 454"/>
                <a:gd name="T2" fmla="*/ 950 w 1116"/>
                <a:gd name="T3" fmla="*/ 0 h 454"/>
                <a:gd name="T4" fmla="*/ 1116 w 1116"/>
                <a:gd name="T5" fmla="*/ 142 h 454"/>
                <a:gd name="T6" fmla="*/ 1116 w 1116"/>
                <a:gd name="T7" fmla="*/ 313 h 454"/>
                <a:gd name="T8" fmla="*/ 950 w 1116"/>
                <a:gd name="T9" fmla="*/ 454 h 454"/>
                <a:gd name="T10" fmla="*/ 58 w 1116"/>
                <a:gd name="T11" fmla="*/ 454 h 454"/>
                <a:gd name="connsiteX0" fmla="*/ 0 w 10000"/>
                <a:gd name="connsiteY0" fmla="*/ 0 h 10062"/>
                <a:gd name="connsiteX1" fmla="*/ 8513 w 10000"/>
                <a:gd name="connsiteY1" fmla="*/ 0 h 10062"/>
                <a:gd name="connsiteX2" fmla="*/ 10000 w 10000"/>
                <a:gd name="connsiteY2" fmla="*/ 3128 h 10062"/>
                <a:gd name="connsiteX3" fmla="*/ 10000 w 10000"/>
                <a:gd name="connsiteY3" fmla="*/ 6894 h 10062"/>
                <a:gd name="connsiteX4" fmla="*/ 8513 w 10000"/>
                <a:gd name="connsiteY4" fmla="*/ 10000 h 10062"/>
                <a:gd name="connsiteX5" fmla="*/ 180 w 10000"/>
                <a:gd name="connsiteY5" fmla="*/ 10062 h 10062"/>
                <a:gd name="connsiteX0" fmla="*/ 0 w 10000"/>
                <a:gd name="connsiteY0" fmla="*/ 0 h 10000"/>
                <a:gd name="connsiteX1" fmla="*/ 8513 w 10000"/>
                <a:gd name="connsiteY1" fmla="*/ 0 h 10000"/>
                <a:gd name="connsiteX2" fmla="*/ 10000 w 10000"/>
                <a:gd name="connsiteY2" fmla="*/ 3128 h 10000"/>
                <a:gd name="connsiteX3" fmla="*/ 10000 w 10000"/>
                <a:gd name="connsiteY3" fmla="*/ 6894 h 10000"/>
                <a:gd name="connsiteX4" fmla="*/ 8513 w 10000"/>
                <a:gd name="connsiteY4" fmla="*/ 10000 h 10000"/>
                <a:gd name="connsiteX5" fmla="*/ 180 w 10000"/>
                <a:gd name="connsiteY5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00">
                  <a:moveTo>
                    <a:pt x="0" y="0"/>
                  </a:moveTo>
                  <a:lnTo>
                    <a:pt x="8513" y="0"/>
                  </a:lnTo>
                  <a:cubicBezTo>
                    <a:pt x="9525" y="0"/>
                    <a:pt x="10000" y="1410"/>
                    <a:pt x="10000" y="3128"/>
                  </a:cubicBezTo>
                  <a:lnTo>
                    <a:pt x="10000" y="6894"/>
                  </a:lnTo>
                  <a:cubicBezTo>
                    <a:pt x="10000" y="8590"/>
                    <a:pt x="9525" y="10000"/>
                    <a:pt x="8513" y="10000"/>
                  </a:cubicBezTo>
                  <a:lnTo>
                    <a:pt x="180" y="10000"/>
                  </a:lnTo>
                </a:path>
              </a:pathLst>
            </a:custGeom>
            <a:noFill/>
            <a:ln w="57150" cap="rnd">
              <a:solidFill>
                <a:schemeClr val="accent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en-GB" sz="1800" dirty="0">
                <a:solidFill>
                  <a:srgbClr val="404955"/>
                </a:solidFill>
                <a:latin typeface="Arial"/>
              </a:endParaRPr>
            </a:p>
          </p:txBody>
        </p:sp>
        <p:cxnSp>
          <p:nvCxnSpPr>
            <p:cNvPr id="8" name="Gerader Verbinder 290">
              <a:extLst>
                <a:ext uri="{FF2B5EF4-FFF2-40B4-BE49-F238E27FC236}">
                  <a16:creationId xmlns:a16="http://schemas.microsoft.com/office/drawing/2014/main" id="{D721FA31-D826-1C74-258F-FA735FF4F2FE}"/>
                </a:ext>
              </a:extLst>
            </p:cNvPr>
            <p:cNvCxnSpPr>
              <a:cxnSpLocks/>
            </p:cNvCxnSpPr>
            <p:nvPr/>
          </p:nvCxnSpPr>
          <p:spPr>
            <a:xfrm>
              <a:off x="684213" y="1508029"/>
              <a:ext cx="1380524" cy="0"/>
            </a:xfrm>
            <a:prstGeom prst="line">
              <a:avLst/>
            </a:prstGeom>
            <a:noFill/>
            <a:ln w="57150" cap="rnd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19DBB53-53D4-4897-01E0-F81C0A6CB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1. EQE 2024 figur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E7772D-E53E-E583-6DE0-580D37A22D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QE 2024 – Survey 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D31213-5242-0DF8-6C39-9A66A95DE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AC15D-B94B-4B86-ABD3-3EDECDB333F5}" type="slidenum">
              <a:rPr lang="en-GB" smtClean="0"/>
              <a:pPr/>
              <a:t>2</a:t>
            </a:fld>
            <a:endParaRPr lang="en-GB" dirty="0"/>
          </a:p>
        </p:txBody>
      </p:sp>
      <p:grpSp>
        <p:nvGrpSpPr>
          <p:cNvPr id="342" name="Gruppieren 341">
            <a:extLst>
              <a:ext uri="{FF2B5EF4-FFF2-40B4-BE49-F238E27FC236}">
                <a16:creationId xmlns:a16="http://schemas.microsoft.com/office/drawing/2014/main" id="{341BE0B6-1F2B-5A71-24ED-E81C41474DB0}"/>
              </a:ext>
            </a:extLst>
          </p:cNvPr>
          <p:cNvGrpSpPr/>
          <p:nvPr/>
        </p:nvGrpSpPr>
        <p:grpSpPr>
          <a:xfrm>
            <a:off x="3450295" y="1362362"/>
            <a:ext cx="1262332" cy="1125868"/>
            <a:chOff x="3450295" y="1362362"/>
            <a:chExt cx="1262332" cy="1125868"/>
          </a:xfrm>
        </p:grpSpPr>
        <p:grpSp>
          <p:nvGrpSpPr>
            <p:cNvPr id="333" name="Gruppieren 332">
              <a:extLst>
                <a:ext uri="{FF2B5EF4-FFF2-40B4-BE49-F238E27FC236}">
                  <a16:creationId xmlns:a16="http://schemas.microsoft.com/office/drawing/2014/main" id="{2D07772C-F6B1-F791-86AD-1DC0A28FB5D1}"/>
                </a:ext>
              </a:extLst>
            </p:cNvPr>
            <p:cNvGrpSpPr/>
            <p:nvPr/>
          </p:nvGrpSpPr>
          <p:grpSpPr>
            <a:xfrm>
              <a:off x="3753467" y="1362362"/>
              <a:ext cx="655988" cy="655988"/>
              <a:chOff x="3763109" y="1362362"/>
              <a:chExt cx="655988" cy="655988"/>
            </a:xfrm>
          </p:grpSpPr>
          <p:sp>
            <p:nvSpPr>
              <p:cNvPr id="12" name="Ellipse 302">
                <a:extLst>
                  <a:ext uri="{FF2B5EF4-FFF2-40B4-BE49-F238E27FC236}">
                    <a16:creationId xmlns:a16="http://schemas.microsoft.com/office/drawing/2014/main" id="{1CC9FF04-896F-2904-AB01-EF8477B91251}"/>
                  </a:ext>
                </a:extLst>
              </p:cNvPr>
              <p:cNvSpPr/>
              <p:nvPr/>
            </p:nvSpPr>
            <p:spPr>
              <a:xfrm>
                <a:off x="3763109" y="1362362"/>
                <a:ext cx="655988" cy="6559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endParaRPr lang="en-GB" sz="1800" dirty="0">
                  <a:solidFill>
                    <a:schemeClr val="tx1"/>
                  </a:solidFill>
                  <a:latin typeface="Arial"/>
                </a:endParaRPr>
              </a:p>
            </p:txBody>
          </p:sp>
          <p:grpSp>
            <p:nvGrpSpPr>
              <p:cNvPr id="230" name="Gruppieren 229">
                <a:extLst>
                  <a:ext uri="{FF2B5EF4-FFF2-40B4-BE49-F238E27FC236}">
                    <a16:creationId xmlns:a16="http://schemas.microsoft.com/office/drawing/2014/main" id="{009AC4BD-FF97-0242-B122-7228DE705DD9}"/>
                  </a:ext>
                </a:extLst>
              </p:cNvPr>
              <p:cNvGrpSpPr/>
              <p:nvPr/>
            </p:nvGrpSpPr>
            <p:grpSpPr>
              <a:xfrm>
                <a:off x="3862293" y="1486496"/>
                <a:ext cx="457621" cy="407720"/>
                <a:chOff x="3853113" y="1468956"/>
                <a:chExt cx="457621" cy="407720"/>
              </a:xfrm>
            </p:grpSpPr>
            <p:sp>
              <p:nvSpPr>
                <p:cNvPr id="227" name="Freeform 241">
                  <a:extLst>
                    <a:ext uri="{FF2B5EF4-FFF2-40B4-BE49-F238E27FC236}">
                      <a16:creationId xmlns:a16="http://schemas.microsoft.com/office/drawing/2014/main" id="{29011A98-0E59-537E-0943-894DED3C7F4A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95866" y="1533808"/>
                  <a:ext cx="214868" cy="258866"/>
                </a:xfrm>
                <a:prstGeom prst="roundRect">
                  <a:avLst>
                    <a:gd name="adj" fmla="val 11055"/>
                  </a:avLst>
                </a:prstGeom>
                <a:solidFill>
                  <a:schemeClr val="bg1"/>
                </a:solidFill>
                <a:ln w="9525" cap="flat">
                  <a:solidFill>
                    <a:srgbClr val="32454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6" name="Freeform 241">
                  <a:extLst>
                    <a:ext uri="{FF2B5EF4-FFF2-40B4-BE49-F238E27FC236}">
                      <a16:creationId xmlns:a16="http://schemas.microsoft.com/office/drawing/2014/main" id="{BE2D7B98-EC5B-F0DE-6C48-B83E8BFB90F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68696" y="1554808"/>
                  <a:ext cx="214868" cy="258866"/>
                </a:xfrm>
                <a:prstGeom prst="roundRect">
                  <a:avLst>
                    <a:gd name="adj" fmla="val 11055"/>
                  </a:avLst>
                </a:prstGeom>
                <a:solidFill>
                  <a:schemeClr val="bg1"/>
                </a:solidFill>
                <a:ln w="9525" cap="flat">
                  <a:solidFill>
                    <a:srgbClr val="32454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25" name="Freeform 241">
                  <a:extLst>
                    <a:ext uri="{FF2B5EF4-FFF2-40B4-BE49-F238E27FC236}">
                      <a16:creationId xmlns:a16="http://schemas.microsoft.com/office/drawing/2014/main" id="{82AD8A55-8275-4543-9D4D-4145FEC508F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41529" y="1575809"/>
                  <a:ext cx="214868" cy="258866"/>
                </a:xfrm>
                <a:prstGeom prst="roundRect">
                  <a:avLst>
                    <a:gd name="adj" fmla="val 11055"/>
                  </a:avLst>
                </a:prstGeom>
                <a:solidFill>
                  <a:schemeClr val="bg1"/>
                </a:solidFill>
                <a:ln w="9525" cap="flat">
                  <a:solidFill>
                    <a:srgbClr val="32454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16" name="Freeform 241">
                  <a:extLst>
                    <a:ext uri="{FF2B5EF4-FFF2-40B4-BE49-F238E27FC236}">
                      <a16:creationId xmlns:a16="http://schemas.microsoft.com/office/drawing/2014/main" id="{F0AB36C9-984E-6451-ECFF-F965833B271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4014361" y="1596809"/>
                  <a:ext cx="214868" cy="258866"/>
                </a:xfrm>
                <a:prstGeom prst="roundRect">
                  <a:avLst>
                    <a:gd name="adj" fmla="val 11055"/>
                  </a:avLst>
                </a:prstGeom>
                <a:solidFill>
                  <a:schemeClr val="bg1"/>
                </a:solidFill>
                <a:ln w="9525" cap="flat">
                  <a:solidFill>
                    <a:srgbClr val="32454E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17" name="Freihandform: Form 46">
                  <a:extLst>
                    <a:ext uri="{FF2B5EF4-FFF2-40B4-BE49-F238E27FC236}">
                      <a16:creationId xmlns:a16="http://schemas.microsoft.com/office/drawing/2014/main" id="{348D5B86-A1B1-37AC-726C-8A5046A5566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 rot="8872808">
                  <a:off x="3853113" y="1468956"/>
                  <a:ext cx="334891" cy="310926"/>
                </a:xfrm>
                <a:custGeom>
                  <a:avLst/>
                  <a:gdLst>
                    <a:gd name="connsiteX0" fmla="*/ 342039 w 1211786"/>
                    <a:gd name="connsiteY0" fmla="*/ 985029 h 1075390"/>
                    <a:gd name="connsiteX1" fmla="*/ 310207 w 1211786"/>
                    <a:gd name="connsiteY1" fmla="*/ 962807 h 1075390"/>
                    <a:gd name="connsiteX2" fmla="*/ 94734 w 1211786"/>
                    <a:gd name="connsiteY2" fmla="*/ 618280 h 1075390"/>
                    <a:gd name="connsiteX3" fmla="*/ 86951 w 1211786"/>
                    <a:gd name="connsiteY3" fmla="*/ 534879 h 1075390"/>
                    <a:gd name="connsiteX4" fmla="*/ 40095 w 1211786"/>
                    <a:gd name="connsiteY4" fmla="*/ 535103 h 1075390"/>
                    <a:gd name="connsiteX5" fmla="*/ 40322 w 1211786"/>
                    <a:gd name="connsiteY5" fmla="*/ 534801 h 1075390"/>
                    <a:gd name="connsiteX6" fmla="*/ 0 w 1211786"/>
                    <a:gd name="connsiteY6" fmla="*/ 534801 h 1075390"/>
                    <a:gd name="connsiteX7" fmla="*/ 153808 w 1211786"/>
                    <a:gd name="connsiteY7" fmla="*/ 367987 h 1075390"/>
                    <a:gd name="connsiteX8" fmla="*/ 307617 w 1211786"/>
                    <a:gd name="connsiteY8" fmla="*/ 534801 h 1075390"/>
                    <a:gd name="connsiteX9" fmla="*/ 227839 w 1211786"/>
                    <a:gd name="connsiteY9" fmla="*/ 534801 h 1075390"/>
                    <a:gd name="connsiteX10" fmla="*/ 233145 w 1211786"/>
                    <a:gd name="connsiteY10" fmla="*/ 591662 h 1075390"/>
                    <a:gd name="connsiteX11" fmla="*/ 614707 w 1211786"/>
                    <a:gd name="connsiteY11" fmla="*/ 933111 h 1075390"/>
                    <a:gd name="connsiteX12" fmla="*/ 1065644 w 1211786"/>
                    <a:gd name="connsiteY12" fmla="*/ 577631 h 1075390"/>
                    <a:gd name="connsiteX13" fmla="*/ 891309 w 1211786"/>
                    <a:gd name="connsiteY13" fmla="*/ 166079 h 1075390"/>
                    <a:gd name="connsiteX14" fmla="*/ 861312 w 1211786"/>
                    <a:gd name="connsiteY14" fmla="*/ 148944 h 1075390"/>
                    <a:gd name="connsiteX15" fmla="*/ 878402 w 1211786"/>
                    <a:gd name="connsiteY15" fmla="*/ 84600 h 1075390"/>
                    <a:gd name="connsiteX16" fmla="*/ 883699 w 1211786"/>
                    <a:gd name="connsiteY16" fmla="*/ 1051 h 1075390"/>
                    <a:gd name="connsiteX17" fmla="*/ 883562 w 1211786"/>
                    <a:gd name="connsiteY17" fmla="*/ 0 h 1075390"/>
                    <a:gd name="connsiteX18" fmla="*/ 961599 w 1211786"/>
                    <a:gd name="connsiteY18" fmla="*/ 43375 h 1075390"/>
                    <a:gd name="connsiteX19" fmla="*/ 1204851 w 1211786"/>
                    <a:gd name="connsiteY19" fmla="*/ 599571 h 1075390"/>
                    <a:gd name="connsiteX20" fmla="*/ 603537 w 1211786"/>
                    <a:gd name="connsiteY20" fmla="*/ 1073594 h 1075390"/>
                    <a:gd name="connsiteX21" fmla="*/ 375449 w 1211786"/>
                    <a:gd name="connsiteY21" fmla="*/ 1005072 h 1075390"/>
                    <a:gd name="connsiteX22" fmla="*/ 342039 w 1211786"/>
                    <a:gd name="connsiteY22" fmla="*/ 985029 h 1075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211786" h="1075390">
                      <a:moveTo>
                        <a:pt x="342039" y="985029"/>
                      </a:moveTo>
                      <a:cubicBezTo>
                        <a:pt x="331160" y="977979"/>
                        <a:pt x="320544" y="970565"/>
                        <a:pt x="310207" y="962807"/>
                      </a:cubicBezTo>
                      <a:cubicBezTo>
                        <a:pt x="199950" y="880049"/>
                        <a:pt x="121487" y="758001"/>
                        <a:pt x="94734" y="618280"/>
                      </a:cubicBezTo>
                      <a:lnTo>
                        <a:pt x="86951" y="534879"/>
                      </a:lnTo>
                      <a:lnTo>
                        <a:pt x="40095" y="535103"/>
                      </a:lnTo>
                      <a:lnTo>
                        <a:pt x="40322" y="534801"/>
                      </a:lnTo>
                      <a:lnTo>
                        <a:pt x="0" y="534801"/>
                      </a:lnTo>
                      <a:lnTo>
                        <a:pt x="153808" y="367987"/>
                      </a:lnTo>
                      <a:lnTo>
                        <a:pt x="307617" y="534801"/>
                      </a:lnTo>
                      <a:lnTo>
                        <a:pt x="227839" y="534801"/>
                      </a:lnTo>
                      <a:lnTo>
                        <a:pt x="233145" y="591662"/>
                      </a:lnTo>
                      <a:cubicBezTo>
                        <a:pt x="268254" y="775027"/>
                        <a:pt x="422123" y="917800"/>
                        <a:pt x="614707" y="933111"/>
                      </a:cubicBezTo>
                      <a:cubicBezTo>
                        <a:pt x="834801" y="950610"/>
                        <a:pt x="1031273" y="795729"/>
                        <a:pt x="1065644" y="577631"/>
                      </a:cubicBezTo>
                      <a:cubicBezTo>
                        <a:pt x="1091422" y="414058"/>
                        <a:pt x="1019502" y="256278"/>
                        <a:pt x="891309" y="166079"/>
                      </a:cubicBezTo>
                      <a:lnTo>
                        <a:pt x="861312" y="148944"/>
                      </a:lnTo>
                      <a:lnTo>
                        <a:pt x="878402" y="84600"/>
                      </a:lnTo>
                      <a:cubicBezTo>
                        <a:pt x="882897" y="56828"/>
                        <a:pt x="884632" y="28845"/>
                        <a:pt x="883699" y="1051"/>
                      </a:cubicBezTo>
                      <a:lnTo>
                        <a:pt x="883562" y="0"/>
                      </a:lnTo>
                      <a:lnTo>
                        <a:pt x="961599" y="43375"/>
                      </a:lnTo>
                      <a:cubicBezTo>
                        <a:pt x="1139271" y="162290"/>
                        <a:pt x="1239942" y="376906"/>
                        <a:pt x="1204851" y="599571"/>
                      </a:cubicBezTo>
                      <a:cubicBezTo>
                        <a:pt x="1159018" y="890398"/>
                        <a:pt x="897028" y="1096928"/>
                        <a:pt x="603537" y="1073594"/>
                      </a:cubicBezTo>
                      <a:cubicBezTo>
                        <a:pt x="520992" y="1067031"/>
                        <a:pt x="443781" y="1042909"/>
                        <a:pt x="375449" y="1005072"/>
                      </a:cubicBezTo>
                      <a:cubicBezTo>
                        <a:pt x="364060" y="998766"/>
                        <a:pt x="352918" y="992079"/>
                        <a:pt x="342039" y="98502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 cap="flat" cmpd="sng" algn="ctr">
                  <a:solidFill>
                    <a:schemeClr val="accent6"/>
                  </a:solidFill>
                  <a:prstDash val="solid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algn="ctr" defTabSz="685600">
                    <a:defRPr/>
                  </a:pPr>
                  <a:endParaRPr lang="en-GB" sz="760" kern="0" dirty="0">
                    <a:latin typeface="Arial"/>
                  </a:endParaRPr>
                </a:p>
              </p:txBody>
            </p:sp>
            <p:grpSp>
              <p:nvGrpSpPr>
                <p:cNvPr id="228" name="Gruppieren 227">
                  <a:extLst>
                    <a:ext uri="{FF2B5EF4-FFF2-40B4-BE49-F238E27FC236}">
                      <a16:creationId xmlns:a16="http://schemas.microsoft.com/office/drawing/2014/main" id="{77E860D6-6C94-7494-DF1C-242BA5CF1A25}"/>
                    </a:ext>
                  </a:extLst>
                </p:cNvPr>
                <p:cNvGrpSpPr/>
                <p:nvPr/>
              </p:nvGrpSpPr>
              <p:grpSpPr>
                <a:xfrm>
                  <a:off x="3987194" y="1617810"/>
                  <a:ext cx="214868" cy="258866"/>
                  <a:chOff x="5541745" y="883476"/>
                  <a:chExt cx="259155" cy="312222"/>
                </a:xfrm>
              </p:grpSpPr>
              <p:sp>
                <p:nvSpPr>
                  <p:cNvPr id="217" name="Freeform 241">
                    <a:extLst>
                      <a:ext uri="{FF2B5EF4-FFF2-40B4-BE49-F238E27FC236}">
                        <a16:creationId xmlns:a16="http://schemas.microsoft.com/office/drawing/2014/main" id="{97A08CCB-4537-9093-A51A-1EFDC159182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41745" y="883476"/>
                    <a:ext cx="259155" cy="312222"/>
                  </a:xfrm>
                  <a:prstGeom prst="roundRect">
                    <a:avLst>
                      <a:gd name="adj" fmla="val 11055"/>
                    </a:avLst>
                  </a:prstGeom>
                  <a:solidFill>
                    <a:schemeClr val="bg1"/>
                  </a:solidFill>
                  <a:ln w="9525" cap="flat">
                    <a:solidFill>
                      <a:srgbClr val="32454E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18" name="Rectangle 228">
                    <a:extLst>
                      <a:ext uri="{FF2B5EF4-FFF2-40B4-BE49-F238E27FC236}">
                        <a16:creationId xmlns:a16="http://schemas.microsoft.com/office/drawing/2014/main" id="{577DD899-0C06-9C02-D70F-2636EE4952CF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581862" y="924061"/>
                    <a:ext cx="37710" cy="41257"/>
                  </a:xfrm>
                  <a:prstGeom prst="rect">
                    <a:avLst/>
                  </a:prstGeom>
                  <a:noFill/>
                  <a:ln w="9525" cap="flat">
                    <a:solidFill>
                      <a:srgbClr val="32454E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19" name="Line 229">
                    <a:extLst>
                      <a:ext uri="{FF2B5EF4-FFF2-40B4-BE49-F238E27FC236}">
                        <a16:creationId xmlns:a16="http://schemas.microsoft.com/office/drawing/2014/main" id="{3031DE52-886B-9030-A61A-BB5962778FFB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711038" y="938673"/>
                    <a:ext cx="51349" cy="0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32454E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20" name="Line 230">
                    <a:extLst>
                      <a:ext uri="{FF2B5EF4-FFF2-40B4-BE49-F238E27FC236}">
                        <a16:creationId xmlns:a16="http://schemas.microsoft.com/office/drawing/2014/main" id="{7565BDCC-5FBF-56F1-FB65-721F466BB3F8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581862" y="1041649"/>
                    <a:ext cx="174107" cy="0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32454E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21" name="Line 231">
                    <a:extLst>
                      <a:ext uri="{FF2B5EF4-FFF2-40B4-BE49-F238E27FC236}">
                        <a16:creationId xmlns:a16="http://schemas.microsoft.com/office/drawing/2014/main" id="{EFDB6CA1-ED92-3422-D28E-F77895D442D1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633212" y="993681"/>
                    <a:ext cx="24873" cy="0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32454E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22" name="Line 232">
                    <a:extLst>
                      <a:ext uri="{FF2B5EF4-FFF2-40B4-BE49-F238E27FC236}">
                        <a16:creationId xmlns:a16="http://schemas.microsoft.com/office/drawing/2014/main" id="{2F207728-EC3C-47F2-EF65-BA41F3D57F4F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581862" y="993681"/>
                    <a:ext cx="24873" cy="0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32454E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23" name="Line 230">
                    <a:extLst>
                      <a:ext uri="{FF2B5EF4-FFF2-40B4-BE49-F238E27FC236}">
                        <a16:creationId xmlns:a16="http://schemas.microsoft.com/office/drawing/2014/main" id="{CAA4277A-3F8B-D63E-8F38-E10337E4C4E0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581862" y="1089617"/>
                    <a:ext cx="98688" cy="0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32454E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24" name="Line 230">
                    <a:extLst>
                      <a:ext uri="{FF2B5EF4-FFF2-40B4-BE49-F238E27FC236}">
                        <a16:creationId xmlns:a16="http://schemas.microsoft.com/office/drawing/2014/main" id="{5793F2AF-0890-10F6-42EA-C392DCF72B0A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581862" y="1137584"/>
                    <a:ext cx="51349" cy="0"/>
                  </a:xfrm>
                  <a:prstGeom prst="line">
                    <a:avLst/>
                  </a:prstGeom>
                  <a:noFill/>
                  <a:ln w="9525" cap="rnd">
                    <a:solidFill>
                      <a:srgbClr val="32454E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</p:grpSp>
        <p:sp>
          <p:nvSpPr>
            <p:cNvPr id="11" name="Textplatzhalter 2">
              <a:extLst>
                <a:ext uri="{FF2B5EF4-FFF2-40B4-BE49-F238E27FC236}">
                  <a16:creationId xmlns:a16="http://schemas.microsoft.com/office/drawing/2014/main" id="{AA3D0CEE-0495-FB76-7BB5-70CDDD2AC60F}"/>
                </a:ext>
              </a:extLst>
            </p:cNvPr>
            <p:cNvSpPr txBox="1">
              <a:spLocks/>
            </p:cNvSpPr>
            <p:nvPr/>
          </p:nvSpPr>
          <p:spPr>
            <a:xfrm>
              <a:off x="3450295" y="1995787"/>
              <a:ext cx="1262332" cy="4924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44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Wingdings" pitchFamily="2" charset="2"/>
                <a:buChar char="§"/>
                <a:tabLst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88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2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76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44000" algn="l" defTabSz="987128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3846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08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600" dirty="0">
                  <a:solidFill>
                    <a:schemeClr val="accent6"/>
                  </a:solidFill>
                </a:rPr>
                <a:t>5</a:t>
              </a:r>
              <a:r>
                <a:rPr lang="en-GB" sz="1200" dirty="0">
                  <a:solidFill>
                    <a:schemeClr val="tx1"/>
                  </a:solidFill>
                </a:rPr>
                <a:t> exams</a:t>
              </a:r>
              <a:br>
                <a:rPr lang="en-GB" sz="1200" dirty="0">
                  <a:solidFill>
                    <a:schemeClr val="tx1"/>
                  </a:solidFill>
                </a:rPr>
              </a:br>
              <a:r>
                <a:rPr lang="en-GB" sz="1200" dirty="0">
                  <a:solidFill>
                    <a:schemeClr val="tx1"/>
                  </a:solidFill>
                </a:rPr>
                <a:t>split over </a:t>
              </a:r>
              <a:r>
                <a:rPr lang="en-GB" sz="1600" dirty="0">
                  <a:solidFill>
                    <a:schemeClr val="accent6"/>
                  </a:solidFill>
                </a:rPr>
                <a:t>11</a:t>
              </a:r>
              <a:r>
                <a:rPr lang="en-GB" sz="1200" dirty="0">
                  <a:solidFill>
                    <a:schemeClr val="tx1"/>
                  </a:solidFill>
                </a:rPr>
                <a:t> flows</a:t>
              </a:r>
            </a:p>
          </p:txBody>
        </p:sp>
      </p:grpSp>
      <p:grpSp>
        <p:nvGrpSpPr>
          <p:cNvPr id="343" name="Gruppieren 342">
            <a:extLst>
              <a:ext uri="{FF2B5EF4-FFF2-40B4-BE49-F238E27FC236}">
                <a16:creationId xmlns:a16="http://schemas.microsoft.com/office/drawing/2014/main" id="{F610A843-B9C1-AB27-3208-FE598BC2D6FB}"/>
              </a:ext>
            </a:extLst>
          </p:cNvPr>
          <p:cNvGrpSpPr/>
          <p:nvPr/>
        </p:nvGrpSpPr>
        <p:grpSpPr>
          <a:xfrm>
            <a:off x="5920686" y="1362362"/>
            <a:ext cx="1706044" cy="1125868"/>
            <a:chOff x="5920686" y="1362362"/>
            <a:chExt cx="1706044" cy="1125868"/>
          </a:xfrm>
        </p:grpSpPr>
        <p:grpSp>
          <p:nvGrpSpPr>
            <p:cNvPr id="334" name="Gruppieren 333">
              <a:extLst>
                <a:ext uri="{FF2B5EF4-FFF2-40B4-BE49-F238E27FC236}">
                  <a16:creationId xmlns:a16="http://schemas.microsoft.com/office/drawing/2014/main" id="{8FD1963B-7A8F-8206-513F-B65CB04C45FB}"/>
                </a:ext>
              </a:extLst>
            </p:cNvPr>
            <p:cNvGrpSpPr/>
            <p:nvPr/>
          </p:nvGrpSpPr>
          <p:grpSpPr>
            <a:xfrm>
              <a:off x="6445714" y="1362362"/>
              <a:ext cx="655988" cy="655988"/>
              <a:chOff x="6472195" y="1362362"/>
              <a:chExt cx="655988" cy="655988"/>
            </a:xfrm>
          </p:grpSpPr>
          <p:sp>
            <p:nvSpPr>
              <p:cNvPr id="58" name="Ellipse 303">
                <a:extLst>
                  <a:ext uri="{FF2B5EF4-FFF2-40B4-BE49-F238E27FC236}">
                    <a16:creationId xmlns:a16="http://schemas.microsoft.com/office/drawing/2014/main" id="{E4C77EFA-A068-54C6-B8A9-ACA8420A4C10}"/>
                  </a:ext>
                </a:extLst>
              </p:cNvPr>
              <p:cNvSpPr/>
              <p:nvPr/>
            </p:nvSpPr>
            <p:spPr>
              <a:xfrm>
                <a:off x="6472195" y="1362362"/>
                <a:ext cx="655988" cy="6559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endParaRPr lang="en-GB" sz="1800" dirty="0">
                  <a:solidFill>
                    <a:schemeClr val="tx1"/>
                  </a:solidFill>
                  <a:latin typeface="Arial"/>
                </a:endParaRPr>
              </a:p>
            </p:txBody>
          </p:sp>
          <p:grpSp>
            <p:nvGrpSpPr>
              <p:cNvPr id="246" name="Gruppieren 245">
                <a:extLst>
                  <a:ext uri="{FF2B5EF4-FFF2-40B4-BE49-F238E27FC236}">
                    <a16:creationId xmlns:a16="http://schemas.microsoft.com/office/drawing/2014/main" id="{6FACAAE1-3E09-7C5D-36DE-4DCFE5004696}"/>
                  </a:ext>
                </a:extLst>
              </p:cNvPr>
              <p:cNvGrpSpPr/>
              <p:nvPr/>
            </p:nvGrpSpPr>
            <p:grpSpPr>
              <a:xfrm>
                <a:off x="6620159" y="1489151"/>
                <a:ext cx="360060" cy="402410"/>
                <a:chOff x="5698184" y="1593349"/>
                <a:chExt cx="269203" cy="300867"/>
              </a:xfrm>
            </p:grpSpPr>
            <p:sp>
              <p:nvSpPr>
                <p:cNvPr id="234" name="Freeform 241">
                  <a:extLst>
                    <a:ext uri="{FF2B5EF4-FFF2-40B4-BE49-F238E27FC236}">
                      <a16:creationId xmlns:a16="http://schemas.microsoft.com/office/drawing/2014/main" id="{B22CB951-F9B7-C554-0634-5CD323D2D70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752519" y="1593349"/>
                  <a:ext cx="214868" cy="258866"/>
                </a:xfrm>
                <a:prstGeom prst="roundRect">
                  <a:avLst>
                    <a:gd name="adj" fmla="val 11055"/>
                  </a:avLst>
                </a:prstGeom>
                <a:solidFill>
                  <a:schemeClr val="bg1"/>
                </a:solidFill>
                <a:ln w="9525" cap="flat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35" name="Freeform 241">
                  <a:extLst>
                    <a:ext uri="{FF2B5EF4-FFF2-40B4-BE49-F238E27FC236}">
                      <a16:creationId xmlns:a16="http://schemas.microsoft.com/office/drawing/2014/main" id="{854AA3CF-EB6E-D013-39E4-287BEBF5E6EC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5725351" y="1614349"/>
                  <a:ext cx="214868" cy="258866"/>
                </a:xfrm>
                <a:prstGeom prst="roundRect">
                  <a:avLst>
                    <a:gd name="adj" fmla="val 11055"/>
                  </a:avLst>
                </a:prstGeom>
                <a:solidFill>
                  <a:schemeClr val="bg1"/>
                </a:solidFill>
                <a:ln w="9525" cap="flat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grpSp>
              <p:nvGrpSpPr>
                <p:cNvPr id="237" name="Gruppieren 236">
                  <a:extLst>
                    <a:ext uri="{FF2B5EF4-FFF2-40B4-BE49-F238E27FC236}">
                      <a16:creationId xmlns:a16="http://schemas.microsoft.com/office/drawing/2014/main" id="{C432EC08-BDBC-4640-EC60-E56F77CA69B2}"/>
                    </a:ext>
                  </a:extLst>
                </p:cNvPr>
                <p:cNvGrpSpPr/>
                <p:nvPr/>
              </p:nvGrpSpPr>
              <p:grpSpPr>
                <a:xfrm>
                  <a:off x="5698184" y="1635350"/>
                  <a:ext cx="214868" cy="258866"/>
                  <a:chOff x="5541745" y="883476"/>
                  <a:chExt cx="259155" cy="312222"/>
                </a:xfrm>
              </p:grpSpPr>
              <p:sp>
                <p:nvSpPr>
                  <p:cNvPr id="238" name="Freeform 241">
                    <a:extLst>
                      <a:ext uri="{FF2B5EF4-FFF2-40B4-BE49-F238E27FC236}">
                        <a16:creationId xmlns:a16="http://schemas.microsoft.com/office/drawing/2014/main" id="{5188968B-A1B7-7655-37DA-F921611FB57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5541745" y="883476"/>
                    <a:ext cx="259155" cy="312222"/>
                  </a:xfrm>
                  <a:prstGeom prst="roundRect">
                    <a:avLst>
                      <a:gd name="adj" fmla="val 11055"/>
                    </a:avLst>
                  </a:prstGeom>
                  <a:solidFill>
                    <a:schemeClr val="bg1"/>
                  </a:solidFill>
                  <a:ln w="9525" cap="flat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39" name="Rectangle 228">
                    <a:extLst>
                      <a:ext uri="{FF2B5EF4-FFF2-40B4-BE49-F238E27FC236}">
                        <a16:creationId xmlns:a16="http://schemas.microsoft.com/office/drawing/2014/main" id="{58328218-9DF8-069D-920C-30343C7E54E8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5581862" y="924061"/>
                    <a:ext cx="37710" cy="41257"/>
                  </a:xfrm>
                  <a:prstGeom prst="rect">
                    <a:avLst/>
                  </a:prstGeom>
                  <a:noFill/>
                  <a:ln w="9525" cap="flat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40" name="Line 229">
                    <a:extLst>
                      <a:ext uri="{FF2B5EF4-FFF2-40B4-BE49-F238E27FC236}">
                        <a16:creationId xmlns:a16="http://schemas.microsoft.com/office/drawing/2014/main" id="{A0D3FBB7-3114-F7DF-B938-32946F9BC9F3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711038" y="938673"/>
                    <a:ext cx="51349" cy="0"/>
                  </a:xfrm>
                  <a:prstGeom prst="line">
                    <a:avLst/>
                  </a:pr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41" name="Line 230">
                    <a:extLst>
                      <a:ext uri="{FF2B5EF4-FFF2-40B4-BE49-F238E27FC236}">
                        <a16:creationId xmlns:a16="http://schemas.microsoft.com/office/drawing/2014/main" id="{7E2533BE-0E41-FA2E-C82C-15261B11D865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581862" y="1041649"/>
                    <a:ext cx="174107" cy="0"/>
                  </a:xfrm>
                  <a:prstGeom prst="line">
                    <a:avLst/>
                  </a:pr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42" name="Line 231">
                    <a:extLst>
                      <a:ext uri="{FF2B5EF4-FFF2-40B4-BE49-F238E27FC236}">
                        <a16:creationId xmlns:a16="http://schemas.microsoft.com/office/drawing/2014/main" id="{352A3825-8E0B-D188-40E2-0D6EC422C4ED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633212" y="993681"/>
                    <a:ext cx="24873" cy="0"/>
                  </a:xfrm>
                  <a:prstGeom prst="line">
                    <a:avLst/>
                  </a:pr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43" name="Line 232">
                    <a:extLst>
                      <a:ext uri="{FF2B5EF4-FFF2-40B4-BE49-F238E27FC236}">
                        <a16:creationId xmlns:a16="http://schemas.microsoft.com/office/drawing/2014/main" id="{9CACBEB4-C1D0-BB27-7C9C-30319550C8CE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581862" y="993681"/>
                    <a:ext cx="24873" cy="0"/>
                  </a:xfrm>
                  <a:prstGeom prst="line">
                    <a:avLst/>
                  </a:pr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44" name="Line 230">
                    <a:extLst>
                      <a:ext uri="{FF2B5EF4-FFF2-40B4-BE49-F238E27FC236}">
                        <a16:creationId xmlns:a16="http://schemas.microsoft.com/office/drawing/2014/main" id="{093823B1-83EB-FFD5-78C5-16309BF09D19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581862" y="1089617"/>
                    <a:ext cx="98688" cy="0"/>
                  </a:xfrm>
                  <a:prstGeom prst="line">
                    <a:avLst/>
                  </a:pr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45" name="Line 230">
                    <a:extLst>
                      <a:ext uri="{FF2B5EF4-FFF2-40B4-BE49-F238E27FC236}">
                        <a16:creationId xmlns:a16="http://schemas.microsoft.com/office/drawing/2014/main" id="{102FCF86-AF1E-FEE2-00C3-FDCA9E7A5C8B}"/>
                      </a:ext>
                    </a:extLst>
                  </p:cNvPr>
                  <p:cNvSpPr>
                    <a:spLocks noChangeAspect="1" noChangeShapeType="1"/>
                  </p:cNvSpPr>
                  <p:nvPr/>
                </p:nvSpPr>
                <p:spPr bwMode="auto">
                  <a:xfrm>
                    <a:off x="5581862" y="1137584"/>
                    <a:ext cx="51349" cy="0"/>
                  </a:xfrm>
                  <a:prstGeom prst="line">
                    <a:avLst/>
                  </a:pr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</p:grpSp>
        <p:sp>
          <p:nvSpPr>
            <p:cNvPr id="57" name="Textplatzhalter 2">
              <a:extLst>
                <a:ext uri="{FF2B5EF4-FFF2-40B4-BE49-F238E27FC236}">
                  <a16:creationId xmlns:a16="http://schemas.microsoft.com/office/drawing/2014/main" id="{55730FF1-401C-8CF0-60B7-03C1A2F0123C}"/>
                </a:ext>
              </a:extLst>
            </p:cNvPr>
            <p:cNvSpPr txBox="1">
              <a:spLocks/>
            </p:cNvSpPr>
            <p:nvPr/>
          </p:nvSpPr>
          <p:spPr>
            <a:xfrm>
              <a:off x="5920686" y="1995787"/>
              <a:ext cx="1706044" cy="4924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44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Wingdings" pitchFamily="2" charset="2"/>
                <a:buChar char="§"/>
                <a:tabLst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88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2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76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44000" algn="l" defTabSz="987128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3846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08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600" dirty="0">
                  <a:solidFill>
                    <a:schemeClr val="accent6"/>
                  </a:solidFill>
                </a:rPr>
                <a:t>132</a:t>
              </a:r>
              <a:r>
                <a:rPr lang="en-GB" sz="1200" dirty="0">
                  <a:solidFill>
                    <a:schemeClr val="tx1"/>
                  </a:solidFill>
                </a:rPr>
                <a:t> exam pages</a:t>
              </a:r>
              <a:br>
                <a:rPr lang="en-GB" sz="1200" dirty="0">
                  <a:solidFill>
                    <a:schemeClr val="tx1"/>
                  </a:solidFill>
                </a:rPr>
              </a:br>
              <a:r>
                <a:rPr lang="en-GB" sz="1600" dirty="0">
                  <a:solidFill>
                    <a:schemeClr val="accent6"/>
                  </a:solidFill>
                </a:rPr>
                <a:t>3</a:t>
              </a:r>
              <a:r>
                <a:rPr lang="en-GB" sz="1200" dirty="0">
                  <a:solidFill>
                    <a:schemeClr val="tx1"/>
                  </a:solidFill>
                </a:rPr>
                <a:t> official EPO languages</a:t>
              </a:r>
            </a:p>
          </p:txBody>
        </p:sp>
      </p:grpSp>
      <p:grpSp>
        <p:nvGrpSpPr>
          <p:cNvPr id="347" name="Gruppieren 346">
            <a:extLst>
              <a:ext uri="{FF2B5EF4-FFF2-40B4-BE49-F238E27FC236}">
                <a16:creationId xmlns:a16="http://schemas.microsoft.com/office/drawing/2014/main" id="{0E547925-7049-AC90-0E89-EC9D4805B7BC}"/>
              </a:ext>
            </a:extLst>
          </p:cNvPr>
          <p:cNvGrpSpPr/>
          <p:nvPr/>
        </p:nvGrpSpPr>
        <p:grpSpPr>
          <a:xfrm>
            <a:off x="1538776" y="3694184"/>
            <a:ext cx="1712007" cy="935765"/>
            <a:chOff x="1538776" y="3694184"/>
            <a:chExt cx="1712007" cy="935765"/>
          </a:xfrm>
        </p:grpSpPr>
        <p:grpSp>
          <p:nvGrpSpPr>
            <p:cNvPr id="338" name="Gruppieren 337">
              <a:extLst>
                <a:ext uri="{FF2B5EF4-FFF2-40B4-BE49-F238E27FC236}">
                  <a16:creationId xmlns:a16="http://schemas.microsoft.com/office/drawing/2014/main" id="{D04E3F42-3DC4-3E19-4202-00C9A0079467}"/>
                </a:ext>
              </a:extLst>
            </p:cNvPr>
            <p:cNvGrpSpPr/>
            <p:nvPr/>
          </p:nvGrpSpPr>
          <p:grpSpPr>
            <a:xfrm>
              <a:off x="2105982" y="3694184"/>
              <a:ext cx="577594" cy="577594"/>
              <a:chOff x="2105982" y="3693891"/>
              <a:chExt cx="577594" cy="577594"/>
            </a:xfrm>
          </p:grpSpPr>
          <p:sp>
            <p:nvSpPr>
              <p:cNvPr id="87" name="Ellipse 304">
                <a:extLst>
                  <a:ext uri="{FF2B5EF4-FFF2-40B4-BE49-F238E27FC236}">
                    <a16:creationId xmlns:a16="http://schemas.microsoft.com/office/drawing/2014/main" id="{2CF1911C-4210-2CAE-BB4B-26B156B98217}"/>
                  </a:ext>
                </a:extLst>
              </p:cNvPr>
              <p:cNvSpPr/>
              <p:nvPr/>
            </p:nvSpPr>
            <p:spPr>
              <a:xfrm>
                <a:off x="2105982" y="3693891"/>
                <a:ext cx="577594" cy="57759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endParaRPr lang="en-GB" sz="1800" dirty="0">
                  <a:solidFill>
                    <a:schemeClr val="tx1"/>
                  </a:solidFill>
                  <a:latin typeface="Arial"/>
                </a:endParaRPr>
              </a:p>
            </p:txBody>
          </p:sp>
          <p:grpSp>
            <p:nvGrpSpPr>
              <p:cNvPr id="278" name="Gruppieren 277">
                <a:extLst>
                  <a:ext uri="{FF2B5EF4-FFF2-40B4-BE49-F238E27FC236}">
                    <a16:creationId xmlns:a16="http://schemas.microsoft.com/office/drawing/2014/main" id="{E45DB159-9A77-60EF-162F-7AA46BDAE346}"/>
                  </a:ext>
                </a:extLst>
              </p:cNvPr>
              <p:cNvGrpSpPr/>
              <p:nvPr/>
            </p:nvGrpSpPr>
            <p:grpSpPr>
              <a:xfrm>
                <a:off x="2244074" y="3800654"/>
                <a:ext cx="301410" cy="364068"/>
                <a:chOff x="446234" y="3484519"/>
                <a:chExt cx="758636" cy="916346"/>
              </a:xfrm>
            </p:grpSpPr>
            <p:sp>
              <p:nvSpPr>
                <p:cNvPr id="258" name="Freihandform: Form 257" descr="Sperren mit einfarbiger Füllung">
                  <a:extLst>
                    <a:ext uri="{FF2B5EF4-FFF2-40B4-BE49-F238E27FC236}">
                      <a16:creationId xmlns:a16="http://schemas.microsoft.com/office/drawing/2014/main" id="{62C9CA67-A250-5F97-5FF9-3E7585012E32}"/>
                    </a:ext>
                  </a:extLst>
                </p:cNvPr>
                <p:cNvSpPr/>
                <p:nvPr/>
              </p:nvSpPr>
              <p:spPr>
                <a:xfrm>
                  <a:off x="446234" y="3484519"/>
                  <a:ext cx="758636" cy="916346"/>
                </a:xfrm>
                <a:custGeom>
                  <a:avLst/>
                  <a:gdLst>
                    <a:gd name="connsiteX0" fmla="*/ 638175 w 1276350"/>
                    <a:gd name="connsiteY0" fmla="*/ 932490 h 1541688"/>
                    <a:gd name="connsiteX1" fmla="*/ 495054 w 1276350"/>
                    <a:gd name="connsiteY1" fmla="*/ 1075611 h 1541688"/>
                    <a:gd name="connsiteX2" fmla="*/ 582465 w 1276350"/>
                    <a:gd name="connsiteY2" fmla="*/ 1207485 h 1541688"/>
                    <a:gd name="connsiteX3" fmla="*/ 588169 w 1276350"/>
                    <a:gd name="connsiteY3" fmla="*/ 1208637 h 1541688"/>
                    <a:gd name="connsiteX4" fmla="*/ 588169 w 1276350"/>
                    <a:gd name="connsiteY4" fmla="*/ 1321865 h 1541688"/>
                    <a:gd name="connsiteX5" fmla="*/ 621506 w 1276350"/>
                    <a:gd name="connsiteY5" fmla="*/ 1355202 h 1541688"/>
                    <a:gd name="connsiteX6" fmla="*/ 654844 w 1276350"/>
                    <a:gd name="connsiteY6" fmla="*/ 1355202 h 1541688"/>
                    <a:gd name="connsiteX7" fmla="*/ 688181 w 1276350"/>
                    <a:gd name="connsiteY7" fmla="*/ 1321865 h 1541688"/>
                    <a:gd name="connsiteX8" fmla="*/ 688181 w 1276350"/>
                    <a:gd name="connsiteY8" fmla="*/ 1208637 h 1541688"/>
                    <a:gd name="connsiteX9" fmla="*/ 693885 w 1276350"/>
                    <a:gd name="connsiteY9" fmla="*/ 1207485 h 1541688"/>
                    <a:gd name="connsiteX10" fmla="*/ 781296 w 1276350"/>
                    <a:gd name="connsiteY10" fmla="*/ 1075611 h 1541688"/>
                    <a:gd name="connsiteX11" fmla="*/ 638175 w 1276350"/>
                    <a:gd name="connsiteY11" fmla="*/ 932490 h 1541688"/>
                    <a:gd name="connsiteX12" fmla="*/ 638175 w 1276350"/>
                    <a:gd name="connsiteY12" fmla="*/ 124522 h 1541688"/>
                    <a:gd name="connsiteX13" fmla="*/ 326870 w 1276350"/>
                    <a:gd name="connsiteY13" fmla="*/ 435826 h 1541688"/>
                    <a:gd name="connsiteX14" fmla="*/ 326870 w 1276350"/>
                    <a:gd name="connsiteY14" fmla="*/ 633716 h 1541688"/>
                    <a:gd name="connsiteX15" fmla="*/ 949480 w 1276350"/>
                    <a:gd name="connsiteY15" fmla="*/ 633716 h 1541688"/>
                    <a:gd name="connsiteX16" fmla="*/ 949480 w 1276350"/>
                    <a:gd name="connsiteY16" fmla="*/ 435826 h 1541688"/>
                    <a:gd name="connsiteX17" fmla="*/ 638175 w 1276350"/>
                    <a:gd name="connsiteY17" fmla="*/ 124522 h 1541688"/>
                    <a:gd name="connsiteX18" fmla="*/ 638175 w 1276350"/>
                    <a:gd name="connsiteY18" fmla="*/ 0 h 1541688"/>
                    <a:gd name="connsiteX19" fmla="*/ 1074002 w 1276350"/>
                    <a:gd name="connsiteY19" fmla="*/ 435826 h 1541688"/>
                    <a:gd name="connsiteX20" fmla="*/ 1074002 w 1276350"/>
                    <a:gd name="connsiteY20" fmla="*/ 633716 h 1541688"/>
                    <a:gd name="connsiteX21" fmla="*/ 1125018 w 1276350"/>
                    <a:gd name="connsiteY21" fmla="*/ 633716 h 1541688"/>
                    <a:gd name="connsiteX22" fmla="*/ 1276350 w 1276350"/>
                    <a:gd name="connsiteY22" fmla="*/ 785048 h 1541688"/>
                    <a:gd name="connsiteX23" fmla="*/ 1276350 w 1276350"/>
                    <a:gd name="connsiteY23" fmla="*/ 1390356 h 1541688"/>
                    <a:gd name="connsiteX24" fmla="*/ 1125018 w 1276350"/>
                    <a:gd name="connsiteY24" fmla="*/ 1541688 h 1541688"/>
                    <a:gd name="connsiteX25" fmla="*/ 151332 w 1276350"/>
                    <a:gd name="connsiteY25" fmla="*/ 1541688 h 1541688"/>
                    <a:gd name="connsiteX26" fmla="*/ 0 w 1276350"/>
                    <a:gd name="connsiteY26" fmla="*/ 1390356 h 1541688"/>
                    <a:gd name="connsiteX27" fmla="*/ 0 w 1276350"/>
                    <a:gd name="connsiteY27" fmla="*/ 785048 h 1541688"/>
                    <a:gd name="connsiteX28" fmla="*/ 151332 w 1276350"/>
                    <a:gd name="connsiteY28" fmla="*/ 633716 h 1541688"/>
                    <a:gd name="connsiteX29" fmla="*/ 202349 w 1276350"/>
                    <a:gd name="connsiteY29" fmla="*/ 633716 h 1541688"/>
                    <a:gd name="connsiteX30" fmla="*/ 202349 w 1276350"/>
                    <a:gd name="connsiteY30" fmla="*/ 435826 h 1541688"/>
                    <a:gd name="connsiteX31" fmla="*/ 638175 w 1276350"/>
                    <a:gd name="connsiteY31" fmla="*/ 0 h 1541688"/>
                    <a:gd name="connsiteX0" fmla="*/ 781296 w 1276350"/>
                    <a:gd name="connsiteY0" fmla="*/ 1075611 h 1541688"/>
                    <a:gd name="connsiteX1" fmla="*/ 495054 w 1276350"/>
                    <a:gd name="connsiteY1" fmla="*/ 1075611 h 1541688"/>
                    <a:gd name="connsiteX2" fmla="*/ 582465 w 1276350"/>
                    <a:gd name="connsiteY2" fmla="*/ 1207485 h 1541688"/>
                    <a:gd name="connsiteX3" fmla="*/ 588169 w 1276350"/>
                    <a:gd name="connsiteY3" fmla="*/ 1208637 h 1541688"/>
                    <a:gd name="connsiteX4" fmla="*/ 588169 w 1276350"/>
                    <a:gd name="connsiteY4" fmla="*/ 1321865 h 1541688"/>
                    <a:gd name="connsiteX5" fmla="*/ 621506 w 1276350"/>
                    <a:gd name="connsiteY5" fmla="*/ 1355202 h 1541688"/>
                    <a:gd name="connsiteX6" fmla="*/ 654844 w 1276350"/>
                    <a:gd name="connsiteY6" fmla="*/ 1355202 h 1541688"/>
                    <a:gd name="connsiteX7" fmla="*/ 688181 w 1276350"/>
                    <a:gd name="connsiteY7" fmla="*/ 1321865 h 1541688"/>
                    <a:gd name="connsiteX8" fmla="*/ 688181 w 1276350"/>
                    <a:gd name="connsiteY8" fmla="*/ 1208637 h 1541688"/>
                    <a:gd name="connsiteX9" fmla="*/ 693885 w 1276350"/>
                    <a:gd name="connsiteY9" fmla="*/ 1207485 h 1541688"/>
                    <a:gd name="connsiteX10" fmla="*/ 781296 w 1276350"/>
                    <a:gd name="connsiteY10" fmla="*/ 1075611 h 1541688"/>
                    <a:gd name="connsiteX11" fmla="*/ 638175 w 1276350"/>
                    <a:gd name="connsiteY11" fmla="*/ 124522 h 1541688"/>
                    <a:gd name="connsiteX12" fmla="*/ 326870 w 1276350"/>
                    <a:gd name="connsiteY12" fmla="*/ 435826 h 1541688"/>
                    <a:gd name="connsiteX13" fmla="*/ 326870 w 1276350"/>
                    <a:gd name="connsiteY13" fmla="*/ 633716 h 1541688"/>
                    <a:gd name="connsiteX14" fmla="*/ 949480 w 1276350"/>
                    <a:gd name="connsiteY14" fmla="*/ 633716 h 1541688"/>
                    <a:gd name="connsiteX15" fmla="*/ 949480 w 1276350"/>
                    <a:gd name="connsiteY15" fmla="*/ 435826 h 1541688"/>
                    <a:gd name="connsiteX16" fmla="*/ 638175 w 1276350"/>
                    <a:gd name="connsiteY16" fmla="*/ 124522 h 1541688"/>
                    <a:gd name="connsiteX17" fmla="*/ 638175 w 1276350"/>
                    <a:gd name="connsiteY17" fmla="*/ 0 h 1541688"/>
                    <a:gd name="connsiteX18" fmla="*/ 1074002 w 1276350"/>
                    <a:gd name="connsiteY18" fmla="*/ 435826 h 1541688"/>
                    <a:gd name="connsiteX19" fmla="*/ 1074002 w 1276350"/>
                    <a:gd name="connsiteY19" fmla="*/ 633716 h 1541688"/>
                    <a:gd name="connsiteX20" fmla="*/ 1125018 w 1276350"/>
                    <a:gd name="connsiteY20" fmla="*/ 633716 h 1541688"/>
                    <a:gd name="connsiteX21" fmla="*/ 1276350 w 1276350"/>
                    <a:gd name="connsiteY21" fmla="*/ 785048 h 1541688"/>
                    <a:gd name="connsiteX22" fmla="*/ 1276350 w 1276350"/>
                    <a:gd name="connsiteY22" fmla="*/ 1390356 h 1541688"/>
                    <a:gd name="connsiteX23" fmla="*/ 1125018 w 1276350"/>
                    <a:gd name="connsiteY23" fmla="*/ 1541688 h 1541688"/>
                    <a:gd name="connsiteX24" fmla="*/ 151332 w 1276350"/>
                    <a:gd name="connsiteY24" fmla="*/ 1541688 h 1541688"/>
                    <a:gd name="connsiteX25" fmla="*/ 0 w 1276350"/>
                    <a:gd name="connsiteY25" fmla="*/ 1390356 h 1541688"/>
                    <a:gd name="connsiteX26" fmla="*/ 0 w 1276350"/>
                    <a:gd name="connsiteY26" fmla="*/ 785048 h 1541688"/>
                    <a:gd name="connsiteX27" fmla="*/ 151332 w 1276350"/>
                    <a:gd name="connsiteY27" fmla="*/ 633716 h 1541688"/>
                    <a:gd name="connsiteX28" fmla="*/ 202349 w 1276350"/>
                    <a:gd name="connsiteY28" fmla="*/ 633716 h 1541688"/>
                    <a:gd name="connsiteX29" fmla="*/ 202349 w 1276350"/>
                    <a:gd name="connsiteY29" fmla="*/ 435826 h 1541688"/>
                    <a:gd name="connsiteX30" fmla="*/ 638175 w 1276350"/>
                    <a:gd name="connsiteY30" fmla="*/ 0 h 1541688"/>
                    <a:gd name="connsiteX0" fmla="*/ 693885 w 1276350"/>
                    <a:gd name="connsiteY0" fmla="*/ 1207485 h 1541688"/>
                    <a:gd name="connsiteX1" fmla="*/ 495054 w 1276350"/>
                    <a:gd name="connsiteY1" fmla="*/ 1075611 h 1541688"/>
                    <a:gd name="connsiteX2" fmla="*/ 582465 w 1276350"/>
                    <a:gd name="connsiteY2" fmla="*/ 1207485 h 1541688"/>
                    <a:gd name="connsiteX3" fmla="*/ 588169 w 1276350"/>
                    <a:gd name="connsiteY3" fmla="*/ 1208637 h 1541688"/>
                    <a:gd name="connsiteX4" fmla="*/ 588169 w 1276350"/>
                    <a:gd name="connsiteY4" fmla="*/ 1321865 h 1541688"/>
                    <a:gd name="connsiteX5" fmla="*/ 621506 w 1276350"/>
                    <a:gd name="connsiteY5" fmla="*/ 1355202 h 1541688"/>
                    <a:gd name="connsiteX6" fmla="*/ 654844 w 1276350"/>
                    <a:gd name="connsiteY6" fmla="*/ 1355202 h 1541688"/>
                    <a:gd name="connsiteX7" fmla="*/ 688181 w 1276350"/>
                    <a:gd name="connsiteY7" fmla="*/ 1321865 h 1541688"/>
                    <a:gd name="connsiteX8" fmla="*/ 688181 w 1276350"/>
                    <a:gd name="connsiteY8" fmla="*/ 1208637 h 1541688"/>
                    <a:gd name="connsiteX9" fmla="*/ 693885 w 1276350"/>
                    <a:gd name="connsiteY9" fmla="*/ 1207485 h 1541688"/>
                    <a:gd name="connsiteX10" fmla="*/ 638175 w 1276350"/>
                    <a:gd name="connsiteY10" fmla="*/ 124522 h 1541688"/>
                    <a:gd name="connsiteX11" fmla="*/ 326870 w 1276350"/>
                    <a:gd name="connsiteY11" fmla="*/ 435826 h 1541688"/>
                    <a:gd name="connsiteX12" fmla="*/ 326870 w 1276350"/>
                    <a:gd name="connsiteY12" fmla="*/ 633716 h 1541688"/>
                    <a:gd name="connsiteX13" fmla="*/ 949480 w 1276350"/>
                    <a:gd name="connsiteY13" fmla="*/ 633716 h 1541688"/>
                    <a:gd name="connsiteX14" fmla="*/ 949480 w 1276350"/>
                    <a:gd name="connsiteY14" fmla="*/ 435826 h 1541688"/>
                    <a:gd name="connsiteX15" fmla="*/ 638175 w 1276350"/>
                    <a:gd name="connsiteY15" fmla="*/ 124522 h 1541688"/>
                    <a:gd name="connsiteX16" fmla="*/ 638175 w 1276350"/>
                    <a:gd name="connsiteY16" fmla="*/ 0 h 1541688"/>
                    <a:gd name="connsiteX17" fmla="*/ 1074002 w 1276350"/>
                    <a:gd name="connsiteY17" fmla="*/ 435826 h 1541688"/>
                    <a:gd name="connsiteX18" fmla="*/ 1074002 w 1276350"/>
                    <a:gd name="connsiteY18" fmla="*/ 633716 h 1541688"/>
                    <a:gd name="connsiteX19" fmla="*/ 1125018 w 1276350"/>
                    <a:gd name="connsiteY19" fmla="*/ 633716 h 1541688"/>
                    <a:gd name="connsiteX20" fmla="*/ 1276350 w 1276350"/>
                    <a:gd name="connsiteY20" fmla="*/ 785048 h 1541688"/>
                    <a:gd name="connsiteX21" fmla="*/ 1276350 w 1276350"/>
                    <a:gd name="connsiteY21" fmla="*/ 1390356 h 1541688"/>
                    <a:gd name="connsiteX22" fmla="*/ 1125018 w 1276350"/>
                    <a:gd name="connsiteY22" fmla="*/ 1541688 h 1541688"/>
                    <a:gd name="connsiteX23" fmla="*/ 151332 w 1276350"/>
                    <a:gd name="connsiteY23" fmla="*/ 1541688 h 1541688"/>
                    <a:gd name="connsiteX24" fmla="*/ 0 w 1276350"/>
                    <a:gd name="connsiteY24" fmla="*/ 1390356 h 1541688"/>
                    <a:gd name="connsiteX25" fmla="*/ 0 w 1276350"/>
                    <a:gd name="connsiteY25" fmla="*/ 785048 h 1541688"/>
                    <a:gd name="connsiteX26" fmla="*/ 151332 w 1276350"/>
                    <a:gd name="connsiteY26" fmla="*/ 633716 h 1541688"/>
                    <a:gd name="connsiteX27" fmla="*/ 202349 w 1276350"/>
                    <a:gd name="connsiteY27" fmla="*/ 633716 h 1541688"/>
                    <a:gd name="connsiteX28" fmla="*/ 202349 w 1276350"/>
                    <a:gd name="connsiteY28" fmla="*/ 435826 h 1541688"/>
                    <a:gd name="connsiteX29" fmla="*/ 638175 w 1276350"/>
                    <a:gd name="connsiteY29" fmla="*/ 0 h 1541688"/>
                    <a:gd name="connsiteX0" fmla="*/ 688181 w 1276350"/>
                    <a:gd name="connsiteY0" fmla="*/ 1208637 h 1541688"/>
                    <a:gd name="connsiteX1" fmla="*/ 495054 w 1276350"/>
                    <a:gd name="connsiteY1" fmla="*/ 1075611 h 1541688"/>
                    <a:gd name="connsiteX2" fmla="*/ 582465 w 1276350"/>
                    <a:gd name="connsiteY2" fmla="*/ 1207485 h 1541688"/>
                    <a:gd name="connsiteX3" fmla="*/ 588169 w 1276350"/>
                    <a:gd name="connsiteY3" fmla="*/ 1208637 h 1541688"/>
                    <a:gd name="connsiteX4" fmla="*/ 588169 w 1276350"/>
                    <a:gd name="connsiteY4" fmla="*/ 1321865 h 1541688"/>
                    <a:gd name="connsiteX5" fmla="*/ 621506 w 1276350"/>
                    <a:gd name="connsiteY5" fmla="*/ 1355202 h 1541688"/>
                    <a:gd name="connsiteX6" fmla="*/ 654844 w 1276350"/>
                    <a:gd name="connsiteY6" fmla="*/ 1355202 h 1541688"/>
                    <a:gd name="connsiteX7" fmla="*/ 688181 w 1276350"/>
                    <a:gd name="connsiteY7" fmla="*/ 1321865 h 1541688"/>
                    <a:gd name="connsiteX8" fmla="*/ 688181 w 1276350"/>
                    <a:gd name="connsiteY8" fmla="*/ 1208637 h 1541688"/>
                    <a:gd name="connsiteX9" fmla="*/ 638175 w 1276350"/>
                    <a:gd name="connsiteY9" fmla="*/ 124522 h 1541688"/>
                    <a:gd name="connsiteX10" fmla="*/ 326870 w 1276350"/>
                    <a:gd name="connsiteY10" fmla="*/ 435826 h 1541688"/>
                    <a:gd name="connsiteX11" fmla="*/ 326870 w 1276350"/>
                    <a:gd name="connsiteY11" fmla="*/ 633716 h 1541688"/>
                    <a:gd name="connsiteX12" fmla="*/ 949480 w 1276350"/>
                    <a:gd name="connsiteY12" fmla="*/ 633716 h 1541688"/>
                    <a:gd name="connsiteX13" fmla="*/ 949480 w 1276350"/>
                    <a:gd name="connsiteY13" fmla="*/ 435826 h 1541688"/>
                    <a:gd name="connsiteX14" fmla="*/ 638175 w 1276350"/>
                    <a:gd name="connsiteY14" fmla="*/ 124522 h 1541688"/>
                    <a:gd name="connsiteX15" fmla="*/ 638175 w 1276350"/>
                    <a:gd name="connsiteY15" fmla="*/ 0 h 1541688"/>
                    <a:gd name="connsiteX16" fmla="*/ 1074002 w 1276350"/>
                    <a:gd name="connsiteY16" fmla="*/ 435826 h 1541688"/>
                    <a:gd name="connsiteX17" fmla="*/ 1074002 w 1276350"/>
                    <a:gd name="connsiteY17" fmla="*/ 633716 h 1541688"/>
                    <a:gd name="connsiteX18" fmla="*/ 1125018 w 1276350"/>
                    <a:gd name="connsiteY18" fmla="*/ 633716 h 1541688"/>
                    <a:gd name="connsiteX19" fmla="*/ 1276350 w 1276350"/>
                    <a:gd name="connsiteY19" fmla="*/ 785048 h 1541688"/>
                    <a:gd name="connsiteX20" fmla="*/ 1276350 w 1276350"/>
                    <a:gd name="connsiteY20" fmla="*/ 1390356 h 1541688"/>
                    <a:gd name="connsiteX21" fmla="*/ 1125018 w 1276350"/>
                    <a:gd name="connsiteY21" fmla="*/ 1541688 h 1541688"/>
                    <a:gd name="connsiteX22" fmla="*/ 151332 w 1276350"/>
                    <a:gd name="connsiteY22" fmla="*/ 1541688 h 1541688"/>
                    <a:gd name="connsiteX23" fmla="*/ 0 w 1276350"/>
                    <a:gd name="connsiteY23" fmla="*/ 1390356 h 1541688"/>
                    <a:gd name="connsiteX24" fmla="*/ 0 w 1276350"/>
                    <a:gd name="connsiteY24" fmla="*/ 785048 h 1541688"/>
                    <a:gd name="connsiteX25" fmla="*/ 151332 w 1276350"/>
                    <a:gd name="connsiteY25" fmla="*/ 633716 h 1541688"/>
                    <a:gd name="connsiteX26" fmla="*/ 202349 w 1276350"/>
                    <a:gd name="connsiteY26" fmla="*/ 633716 h 1541688"/>
                    <a:gd name="connsiteX27" fmla="*/ 202349 w 1276350"/>
                    <a:gd name="connsiteY27" fmla="*/ 435826 h 1541688"/>
                    <a:gd name="connsiteX28" fmla="*/ 638175 w 1276350"/>
                    <a:gd name="connsiteY28" fmla="*/ 0 h 1541688"/>
                    <a:gd name="connsiteX0" fmla="*/ 688181 w 1276350"/>
                    <a:gd name="connsiteY0" fmla="*/ 1321865 h 1541688"/>
                    <a:gd name="connsiteX1" fmla="*/ 495054 w 1276350"/>
                    <a:gd name="connsiteY1" fmla="*/ 1075611 h 1541688"/>
                    <a:gd name="connsiteX2" fmla="*/ 582465 w 1276350"/>
                    <a:gd name="connsiteY2" fmla="*/ 1207485 h 1541688"/>
                    <a:gd name="connsiteX3" fmla="*/ 588169 w 1276350"/>
                    <a:gd name="connsiteY3" fmla="*/ 1208637 h 1541688"/>
                    <a:gd name="connsiteX4" fmla="*/ 588169 w 1276350"/>
                    <a:gd name="connsiteY4" fmla="*/ 1321865 h 1541688"/>
                    <a:gd name="connsiteX5" fmla="*/ 621506 w 1276350"/>
                    <a:gd name="connsiteY5" fmla="*/ 1355202 h 1541688"/>
                    <a:gd name="connsiteX6" fmla="*/ 654844 w 1276350"/>
                    <a:gd name="connsiteY6" fmla="*/ 1355202 h 1541688"/>
                    <a:gd name="connsiteX7" fmla="*/ 688181 w 1276350"/>
                    <a:gd name="connsiteY7" fmla="*/ 1321865 h 1541688"/>
                    <a:gd name="connsiteX8" fmla="*/ 638175 w 1276350"/>
                    <a:gd name="connsiteY8" fmla="*/ 124522 h 1541688"/>
                    <a:gd name="connsiteX9" fmla="*/ 326870 w 1276350"/>
                    <a:gd name="connsiteY9" fmla="*/ 435826 h 1541688"/>
                    <a:gd name="connsiteX10" fmla="*/ 326870 w 1276350"/>
                    <a:gd name="connsiteY10" fmla="*/ 633716 h 1541688"/>
                    <a:gd name="connsiteX11" fmla="*/ 949480 w 1276350"/>
                    <a:gd name="connsiteY11" fmla="*/ 633716 h 1541688"/>
                    <a:gd name="connsiteX12" fmla="*/ 949480 w 1276350"/>
                    <a:gd name="connsiteY12" fmla="*/ 435826 h 1541688"/>
                    <a:gd name="connsiteX13" fmla="*/ 638175 w 1276350"/>
                    <a:gd name="connsiteY13" fmla="*/ 124522 h 1541688"/>
                    <a:gd name="connsiteX14" fmla="*/ 638175 w 1276350"/>
                    <a:gd name="connsiteY14" fmla="*/ 0 h 1541688"/>
                    <a:gd name="connsiteX15" fmla="*/ 1074002 w 1276350"/>
                    <a:gd name="connsiteY15" fmla="*/ 435826 h 1541688"/>
                    <a:gd name="connsiteX16" fmla="*/ 1074002 w 1276350"/>
                    <a:gd name="connsiteY16" fmla="*/ 633716 h 1541688"/>
                    <a:gd name="connsiteX17" fmla="*/ 1125018 w 1276350"/>
                    <a:gd name="connsiteY17" fmla="*/ 633716 h 1541688"/>
                    <a:gd name="connsiteX18" fmla="*/ 1276350 w 1276350"/>
                    <a:gd name="connsiteY18" fmla="*/ 785048 h 1541688"/>
                    <a:gd name="connsiteX19" fmla="*/ 1276350 w 1276350"/>
                    <a:gd name="connsiteY19" fmla="*/ 1390356 h 1541688"/>
                    <a:gd name="connsiteX20" fmla="*/ 1125018 w 1276350"/>
                    <a:gd name="connsiteY20" fmla="*/ 1541688 h 1541688"/>
                    <a:gd name="connsiteX21" fmla="*/ 151332 w 1276350"/>
                    <a:gd name="connsiteY21" fmla="*/ 1541688 h 1541688"/>
                    <a:gd name="connsiteX22" fmla="*/ 0 w 1276350"/>
                    <a:gd name="connsiteY22" fmla="*/ 1390356 h 1541688"/>
                    <a:gd name="connsiteX23" fmla="*/ 0 w 1276350"/>
                    <a:gd name="connsiteY23" fmla="*/ 785048 h 1541688"/>
                    <a:gd name="connsiteX24" fmla="*/ 151332 w 1276350"/>
                    <a:gd name="connsiteY24" fmla="*/ 633716 h 1541688"/>
                    <a:gd name="connsiteX25" fmla="*/ 202349 w 1276350"/>
                    <a:gd name="connsiteY25" fmla="*/ 633716 h 1541688"/>
                    <a:gd name="connsiteX26" fmla="*/ 202349 w 1276350"/>
                    <a:gd name="connsiteY26" fmla="*/ 435826 h 1541688"/>
                    <a:gd name="connsiteX27" fmla="*/ 638175 w 1276350"/>
                    <a:gd name="connsiteY27" fmla="*/ 0 h 1541688"/>
                    <a:gd name="connsiteX0" fmla="*/ 654844 w 1276350"/>
                    <a:gd name="connsiteY0" fmla="*/ 1355202 h 1541688"/>
                    <a:gd name="connsiteX1" fmla="*/ 495054 w 1276350"/>
                    <a:gd name="connsiteY1" fmla="*/ 1075611 h 1541688"/>
                    <a:gd name="connsiteX2" fmla="*/ 582465 w 1276350"/>
                    <a:gd name="connsiteY2" fmla="*/ 1207485 h 1541688"/>
                    <a:gd name="connsiteX3" fmla="*/ 588169 w 1276350"/>
                    <a:gd name="connsiteY3" fmla="*/ 1208637 h 1541688"/>
                    <a:gd name="connsiteX4" fmla="*/ 588169 w 1276350"/>
                    <a:gd name="connsiteY4" fmla="*/ 1321865 h 1541688"/>
                    <a:gd name="connsiteX5" fmla="*/ 621506 w 1276350"/>
                    <a:gd name="connsiteY5" fmla="*/ 1355202 h 1541688"/>
                    <a:gd name="connsiteX6" fmla="*/ 654844 w 1276350"/>
                    <a:gd name="connsiteY6" fmla="*/ 1355202 h 1541688"/>
                    <a:gd name="connsiteX7" fmla="*/ 638175 w 1276350"/>
                    <a:gd name="connsiteY7" fmla="*/ 124522 h 1541688"/>
                    <a:gd name="connsiteX8" fmla="*/ 326870 w 1276350"/>
                    <a:gd name="connsiteY8" fmla="*/ 435826 h 1541688"/>
                    <a:gd name="connsiteX9" fmla="*/ 326870 w 1276350"/>
                    <a:gd name="connsiteY9" fmla="*/ 633716 h 1541688"/>
                    <a:gd name="connsiteX10" fmla="*/ 949480 w 1276350"/>
                    <a:gd name="connsiteY10" fmla="*/ 633716 h 1541688"/>
                    <a:gd name="connsiteX11" fmla="*/ 949480 w 1276350"/>
                    <a:gd name="connsiteY11" fmla="*/ 435826 h 1541688"/>
                    <a:gd name="connsiteX12" fmla="*/ 638175 w 1276350"/>
                    <a:gd name="connsiteY12" fmla="*/ 124522 h 1541688"/>
                    <a:gd name="connsiteX13" fmla="*/ 638175 w 1276350"/>
                    <a:gd name="connsiteY13" fmla="*/ 0 h 1541688"/>
                    <a:gd name="connsiteX14" fmla="*/ 1074002 w 1276350"/>
                    <a:gd name="connsiteY14" fmla="*/ 435826 h 1541688"/>
                    <a:gd name="connsiteX15" fmla="*/ 1074002 w 1276350"/>
                    <a:gd name="connsiteY15" fmla="*/ 633716 h 1541688"/>
                    <a:gd name="connsiteX16" fmla="*/ 1125018 w 1276350"/>
                    <a:gd name="connsiteY16" fmla="*/ 633716 h 1541688"/>
                    <a:gd name="connsiteX17" fmla="*/ 1276350 w 1276350"/>
                    <a:gd name="connsiteY17" fmla="*/ 785048 h 1541688"/>
                    <a:gd name="connsiteX18" fmla="*/ 1276350 w 1276350"/>
                    <a:gd name="connsiteY18" fmla="*/ 1390356 h 1541688"/>
                    <a:gd name="connsiteX19" fmla="*/ 1125018 w 1276350"/>
                    <a:gd name="connsiteY19" fmla="*/ 1541688 h 1541688"/>
                    <a:gd name="connsiteX20" fmla="*/ 151332 w 1276350"/>
                    <a:gd name="connsiteY20" fmla="*/ 1541688 h 1541688"/>
                    <a:gd name="connsiteX21" fmla="*/ 0 w 1276350"/>
                    <a:gd name="connsiteY21" fmla="*/ 1390356 h 1541688"/>
                    <a:gd name="connsiteX22" fmla="*/ 0 w 1276350"/>
                    <a:gd name="connsiteY22" fmla="*/ 785048 h 1541688"/>
                    <a:gd name="connsiteX23" fmla="*/ 151332 w 1276350"/>
                    <a:gd name="connsiteY23" fmla="*/ 633716 h 1541688"/>
                    <a:gd name="connsiteX24" fmla="*/ 202349 w 1276350"/>
                    <a:gd name="connsiteY24" fmla="*/ 633716 h 1541688"/>
                    <a:gd name="connsiteX25" fmla="*/ 202349 w 1276350"/>
                    <a:gd name="connsiteY25" fmla="*/ 435826 h 1541688"/>
                    <a:gd name="connsiteX26" fmla="*/ 638175 w 1276350"/>
                    <a:gd name="connsiteY26" fmla="*/ 0 h 1541688"/>
                    <a:gd name="connsiteX0" fmla="*/ 621506 w 1276350"/>
                    <a:gd name="connsiteY0" fmla="*/ 1355202 h 1541688"/>
                    <a:gd name="connsiteX1" fmla="*/ 495054 w 1276350"/>
                    <a:gd name="connsiteY1" fmla="*/ 1075611 h 1541688"/>
                    <a:gd name="connsiteX2" fmla="*/ 582465 w 1276350"/>
                    <a:gd name="connsiteY2" fmla="*/ 1207485 h 1541688"/>
                    <a:gd name="connsiteX3" fmla="*/ 588169 w 1276350"/>
                    <a:gd name="connsiteY3" fmla="*/ 1208637 h 1541688"/>
                    <a:gd name="connsiteX4" fmla="*/ 588169 w 1276350"/>
                    <a:gd name="connsiteY4" fmla="*/ 1321865 h 1541688"/>
                    <a:gd name="connsiteX5" fmla="*/ 621506 w 1276350"/>
                    <a:gd name="connsiteY5" fmla="*/ 1355202 h 1541688"/>
                    <a:gd name="connsiteX6" fmla="*/ 638175 w 1276350"/>
                    <a:gd name="connsiteY6" fmla="*/ 124522 h 1541688"/>
                    <a:gd name="connsiteX7" fmla="*/ 326870 w 1276350"/>
                    <a:gd name="connsiteY7" fmla="*/ 435826 h 1541688"/>
                    <a:gd name="connsiteX8" fmla="*/ 326870 w 1276350"/>
                    <a:gd name="connsiteY8" fmla="*/ 633716 h 1541688"/>
                    <a:gd name="connsiteX9" fmla="*/ 949480 w 1276350"/>
                    <a:gd name="connsiteY9" fmla="*/ 633716 h 1541688"/>
                    <a:gd name="connsiteX10" fmla="*/ 949480 w 1276350"/>
                    <a:gd name="connsiteY10" fmla="*/ 435826 h 1541688"/>
                    <a:gd name="connsiteX11" fmla="*/ 638175 w 1276350"/>
                    <a:gd name="connsiteY11" fmla="*/ 124522 h 1541688"/>
                    <a:gd name="connsiteX12" fmla="*/ 638175 w 1276350"/>
                    <a:gd name="connsiteY12" fmla="*/ 0 h 1541688"/>
                    <a:gd name="connsiteX13" fmla="*/ 1074002 w 1276350"/>
                    <a:gd name="connsiteY13" fmla="*/ 435826 h 1541688"/>
                    <a:gd name="connsiteX14" fmla="*/ 1074002 w 1276350"/>
                    <a:gd name="connsiteY14" fmla="*/ 633716 h 1541688"/>
                    <a:gd name="connsiteX15" fmla="*/ 1125018 w 1276350"/>
                    <a:gd name="connsiteY15" fmla="*/ 633716 h 1541688"/>
                    <a:gd name="connsiteX16" fmla="*/ 1276350 w 1276350"/>
                    <a:gd name="connsiteY16" fmla="*/ 785048 h 1541688"/>
                    <a:gd name="connsiteX17" fmla="*/ 1276350 w 1276350"/>
                    <a:gd name="connsiteY17" fmla="*/ 1390356 h 1541688"/>
                    <a:gd name="connsiteX18" fmla="*/ 1125018 w 1276350"/>
                    <a:gd name="connsiteY18" fmla="*/ 1541688 h 1541688"/>
                    <a:gd name="connsiteX19" fmla="*/ 151332 w 1276350"/>
                    <a:gd name="connsiteY19" fmla="*/ 1541688 h 1541688"/>
                    <a:gd name="connsiteX20" fmla="*/ 0 w 1276350"/>
                    <a:gd name="connsiteY20" fmla="*/ 1390356 h 1541688"/>
                    <a:gd name="connsiteX21" fmla="*/ 0 w 1276350"/>
                    <a:gd name="connsiteY21" fmla="*/ 785048 h 1541688"/>
                    <a:gd name="connsiteX22" fmla="*/ 151332 w 1276350"/>
                    <a:gd name="connsiteY22" fmla="*/ 633716 h 1541688"/>
                    <a:gd name="connsiteX23" fmla="*/ 202349 w 1276350"/>
                    <a:gd name="connsiteY23" fmla="*/ 633716 h 1541688"/>
                    <a:gd name="connsiteX24" fmla="*/ 202349 w 1276350"/>
                    <a:gd name="connsiteY24" fmla="*/ 435826 h 1541688"/>
                    <a:gd name="connsiteX25" fmla="*/ 638175 w 1276350"/>
                    <a:gd name="connsiteY25" fmla="*/ 0 h 1541688"/>
                    <a:gd name="connsiteX0" fmla="*/ 588169 w 1276350"/>
                    <a:gd name="connsiteY0" fmla="*/ 1321865 h 1541688"/>
                    <a:gd name="connsiteX1" fmla="*/ 495054 w 1276350"/>
                    <a:gd name="connsiteY1" fmla="*/ 1075611 h 1541688"/>
                    <a:gd name="connsiteX2" fmla="*/ 582465 w 1276350"/>
                    <a:gd name="connsiteY2" fmla="*/ 1207485 h 1541688"/>
                    <a:gd name="connsiteX3" fmla="*/ 588169 w 1276350"/>
                    <a:gd name="connsiteY3" fmla="*/ 1208637 h 1541688"/>
                    <a:gd name="connsiteX4" fmla="*/ 588169 w 1276350"/>
                    <a:gd name="connsiteY4" fmla="*/ 1321865 h 1541688"/>
                    <a:gd name="connsiteX5" fmla="*/ 638175 w 1276350"/>
                    <a:gd name="connsiteY5" fmla="*/ 124522 h 1541688"/>
                    <a:gd name="connsiteX6" fmla="*/ 326870 w 1276350"/>
                    <a:gd name="connsiteY6" fmla="*/ 435826 h 1541688"/>
                    <a:gd name="connsiteX7" fmla="*/ 326870 w 1276350"/>
                    <a:gd name="connsiteY7" fmla="*/ 633716 h 1541688"/>
                    <a:gd name="connsiteX8" fmla="*/ 949480 w 1276350"/>
                    <a:gd name="connsiteY8" fmla="*/ 633716 h 1541688"/>
                    <a:gd name="connsiteX9" fmla="*/ 949480 w 1276350"/>
                    <a:gd name="connsiteY9" fmla="*/ 435826 h 1541688"/>
                    <a:gd name="connsiteX10" fmla="*/ 638175 w 1276350"/>
                    <a:gd name="connsiteY10" fmla="*/ 124522 h 1541688"/>
                    <a:gd name="connsiteX11" fmla="*/ 638175 w 1276350"/>
                    <a:gd name="connsiteY11" fmla="*/ 0 h 1541688"/>
                    <a:gd name="connsiteX12" fmla="*/ 1074002 w 1276350"/>
                    <a:gd name="connsiteY12" fmla="*/ 435826 h 1541688"/>
                    <a:gd name="connsiteX13" fmla="*/ 1074002 w 1276350"/>
                    <a:gd name="connsiteY13" fmla="*/ 633716 h 1541688"/>
                    <a:gd name="connsiteX14" fmla="*/ 1125018 w 1276350"/>
                    <a:gd name="connsiteY14" fmla="*/ 633716 h 1541688"/>
                    <a:gd name="connsiteX15" fmla="*/ 1276350 w 1276350"/>
                    <a:gd name="connsiteY15" fmla="*/ 785048 h 1541688"/>
                    <a:gd name="connsiteX16" fmla="*/ 1276350 w 1276350"/>
                    <a:gd name="connsiteY16" fmla="*/ 1390356 h 1541688"/>
                    <a:gd name="connsiteX17" fmla="*/ 1125018 w 1276350"/>
                    <a:gd name="connsiteY17" fmla="*/ 1541688 h 1541688"/>
                    <a:gd name="connsiteX18" fmla="*/ 151332 w 1276350"/>
                    <a:gd name="connsiteY18" fmla="*/ 1541688 h 1541688"/>
                    <a:gd name="connsiteX19" fmla="*/ 0 w 1276350"/>
                    <a:gd name="connsiteY19" fmla="*/ 1390356 h 1541688"/>
                    <a:gd name="connsiteX20" fmla="*/ 0 w 1276350"/>
                    <a:gd name="connsiteY20" fmla="*/ 785048 h 1541688"/>
                    <a:gd name="connsiteX21" fmla="*/ 151332 w 1276350"/>
                    <a:gd name="connsiteY21" fmla="*/ 633716 h 1541688"/>
                    <a:gd name="connsiteX22" fmla="*/ 202349 w 1276350"/>
                    <a:gd name="connsiteY22" fmla="*/ 633716 h 1541688"/>
                    <a:gd name="connsiteX23" fmla="*/ 202349 w 1276350"/>
                    <a:gd name="connsiteY23" fmla="*/ 435826 h 1541688"/>
                    <a:gd name="connsiteX24" fmla="*/ 638175 w 1276350"/>
                    <a:gd name="connsiteY24" fmla="*/ 0 h 1541688"/>
                    <a:gd name="connsiteX0" fmla="*/ 588169 w 1276350"/>
                    <a:gd name="connsiteY0" fmla="*/ 1208637 h 1541688"/>
                    <a:gd name="connsiteX1" fmla="*/ 495054 w 1276350"/>
                    <a:gd name="connsiteY1" fmla="*/ 1075611 h 1541688"/>
                    <a:gd name="connsiteX2" fmla="*/ 582465 w 1276350"/>
                    <a:gd name="connsiteY2" fmla="*/ 1207485 h 1541688"/>
                    <a:gd name="connsiteX3" fmla="*/ 588169 w 1276350"/>
                    <a:gd name="connsiteY3" fmla="*/ 1208637 h 1541688"/>
                    <a:gd name="connsiteX4" fmla="*/ 638175 w 1276350"/>
                    <a:gd name="connsiteY4" fmla="*/ 124522 h 1541688"/>
                    <a:gd name="connsiteX5" fmla="*/ 326870 w 1276350"/>
                    <a:gd name="connsiteY5" fmla="*/ 435826 h 1541688"/>
                    <a:gd name="connsiteX6" fmla="*/ 326870 w 1276350"/>
                    <a:gd name="connsiteY6" fmla="*/ 633716 h 1541688"/>
                    <a:gd name="connsiteX7" fmla="*/ 949480 w 1276350"/>
                    <a:gd name="connsiteY7" fmla="*/ 633716 h 1541688"/>
                    <a:gd name="connsiteX8" fmla="*/ 949480 w 1276350"/>
                    <a:gd name="connsiteY8" fmla="*/ 435826 h 1541688"/>
                    <a:gd name="connsiteX9" fmla="*/ 638175 w 1276350"/>
                    <a:gd name="connsiteY9" fmla="*/ 124522 h 1541688"/>
                    <a:gd name="connsiteX10" fmla="*/ 638175 w 1276350"/>
                    <a:gd name="connsiteY10" fmla="*/ 0 h 1541688"/>
                    <a:gd name="connsiteX11" fmla="*/ 1074002 w 1276350"/>
                    <a:gd name="connsiteY11" fmla="*/ 435826 h 1541688"/>
                    <a:gd name="connsiteX12" fmla="*/ 1074002 w 1276350"/>
                    <a:gd name="connsiteY12" fmla="*/ 633716 h 1541688"/>
                    <a:gd name="connsiteX13" fmla="*/ 1125018 w 1276350"/>
                    <a:gd name="connsiteY13" fmla="*/ 633716 h 1541688"/>
                    <a:gd name="connsiteX14" fmla="*/ 1276350 w 1276350"/>
                    <a:gd name="connsiteY14" fmla="*/ 785048 h 1541688"/>
                    <a:gd name="connsiteX15" fmla="*/ 1276350 w 1276350"/>
                    <a:gd name="connsiteY15" fmla="*/ 1390356 h 1541688"/>
                    <a:gd name="connsiteX16" fmla="*/ 1125018 w 1276350"/>
                    <a:gd name="connsiteY16" fmla="*/ 1541688 h 1541688"/>
                    <a:gd name="connsiteX17" fmla="*/ 151332 w 1276350"/>
                    <a:gd name="connsiteY17" fmla="*/ 1541688 h 1541688"/>
                    <a:gd name="connsiteX18" fmla="*/ 0 w 1276350"/>
                    <a:gd name="connsiteY18" fmla="*/ 1390356 h 1541688"/>
                    <a:gd name="connsiteX19" fmla="*/ 0 w 1276350"/>
                    <a:gd name="connsiteY19" fmla="*/ 785048 h 1541688"/>
                    <a:gd name="connsiteX20" fmla="*/ 151332 w 1276350"/>
                    <a:gd name="connsiteY20" fmla="*/ 633716 h 1541688"/>
                    <a:gd name="connsiteX21" fmla="*/ 202349 w 1276350"/>
                    <a:gd name="connsiteY21" fmla="*/ 633716 h 1541688"/>
                    <a:gd name="connsiteX22" fmla="*/ 202349 w 1276350"/>
                    <a:gd name="connsiteY22" fmla="*/ 435826 h 1541688"/>
                    <a:gd name="connsiteX23" fmla="*/ 638175 w 1276350"/>
                    <a:gd name="connsiteY23" fmla="*/ 0 h 1541688"/>
                    <a:gd name="connsiteX0" fmla="*/ 582465 w 1276350"/>
                    <a:gd name="connsiteY0" fmla="*/ 1207485 h 1541688"/>
                    <a:gd name="connsiteX1" fmla="*/ 495054 w 1276350"/>
                    <a:gd name="connsiteY1" fmla="*/ 1075611 h 1541688"/>
                    <a:gd name="connsiteX2" fmla="*/ 582465 w 1276350"/>
                    <a:gd name="connsiteY2" fmla="*/ 1207485 h 1541688"/>
                    <a:gd name="connsiteX3" fmla="*/ 638175 w 1276350"/>
                    <a:gd name="connsiteY3" fmla="*/ 124522 h 1541688"/>
                    <a:gd name="connsiteX4" fmla="*/ 326870 w 1276350"/>
                    <a:gd name="connsiteY4" fmla="*/ 435826 h 1541688"/>
                    <a:gd name="connsiteX5" fmla="*/ 326870 w 1276350"/>
                    <a:gd name="connsiteY5" fmla="*/ 633716 h 1541688"/>
                    <a:gd name="connsiteX6" fmla="*/ 949480 w 1276350"/>
                    <a:gd name="connsiteY6" fmla="*/ 633716 h 1541688"/>
                    <a:gd name="connsiteX7" fmla="*/ 949480 w 1276350"/>
                    <a:gd name="connsiteY7" fmla="*/ 435826 h 1541688"/>
                    <a:gd name="connsiteX8" fmla="*/ 638175 w 1276350"/>
                    <a:gd name="connsiteY8" fmla="*/ 124522 h 1541688"/>
                    <a:gd name="connsiteX9" fmla="*/ 638175 w 1276350"/>
                    <a:gd name="connsiteY9" fmla="*/ 0 h 1541688"/>
                    <a:gd name="connsiteX10" fmla="*/ 1074002 w 1276350"/>
                    <a:gd name="connsiteY10" fmla="*/ 435826 h 1541688"/>
                    <a:gd name="connsiteX11" fmla="*/ 1074002 w 1276350"/>
                    <a:gd name="connsiteY11" fmla="*/ 633716 h 1541688"/>
                    <a:gd name="connsiteX12" fmla="*/ 1125018 w 1276350"/>
                    <a:gd name="connsiteY12" fmla="*/ 633716 h 1541688"/>
                    <a:gd name="connsiteX13" fmla="*/ 1276350 w 1276350"/>
                    <a:gd name="connsiteY13" fmla="*/ 785048 h 1541688"/>
                    <a:gd name="connsiteX14" fmla="*/ 1276350 w 1276350"/>
                    <a:gd name="connsiteY14" fmla="*/ 1390356 h 1541688"/>
                    <a:gd name="connsiteX15" fmla="*/ 1125018 w 1276350"/>
                    <a:gd name="connsiteY15" fmla="*/ 1541688 h 1541688"/>
                    <a:gd name="connsiteX16" fmla="*/ 151332 w 1276350"/>
                    <a:gd name="connsiteY16" fmla="*/ 1541688 h 1541688"/>
                    <a:gd name="connsiteX17" fmla="*/ 0 w 1276350"/>
                    <a:gd name="connsiteY17" fmla="*/ 1390356 h 1541688"/>
                    <a:gd name="connsiteX18" fmla="*/ 0 w 1276350"/>
                    <a:gd name="connsiteY18" fmla="*/ 785048 h 1541688"/>
                    <a:gd name="connsiteX19" fmla="*/ 151332 w 1276350"/>
                    <a:gd name="connsiteY19" fmla="*/ 633716 h 1541688"/>
                    <a:gd name="connsiteX20" fmla="*/ 202349 w 1276350"/>
                    <a:gd name="connsiteY20" fmla="*/ 633716 h 1541688"/>
                    <a:gd name="connsiteX21" fmla="*/ 202349 w 1276350"/>
                    <a:gd name="connsiteY21" fmla="*/ 435826 h 1541688"/>
                    <a:gd name="connsiteX22" fmla="*/ 638175 w 1276350"/>
                    <a:gd name="connsiteY22" fmla="*/ 0 h 1541688"/>
                    <a:gd name="connsiteX0" fmla="*/ 638175 w 1276350"/>
                    <a:gd name="connsiteY0" fmla="*/ 124522 h 1541688"/>
                    <a:gd name="connsiteX1" fmla="*/ 326870 w 1276350"/>
                    <a:gd name="connsiteY1" fmla="*/ 435826 h 1541688"/>
                    <a:gd name="connsiteX2" fmla="*/ 326870 w 1276350"/>
                    <a:gd name="connsiteY2" fmla="*/ 633716 h 1541688"/>
                    <a:gd name="connsiteX3" fmla="*/ 949480 w 1276350"/>
                    <a:gd name="connsiteY3" fmla="*/ 633716 h 1541688"/>
                    <a:gd name="connsiteX4" fmla="*/ 949480 w 1276350"/>
                    <a:gd name="connsiteY4" fmla="*/ 435826 h 1541688"/>
                    <a:gd name="connsiteX5" fmla="*/ 638175 w 1276350"/>
                    <a:gd name="connsiteY5" fmla="*/ 124522 h 1541688"/>
                    <a:gd name="connsiteX6" fmla="*/ 638175 w 1276350"/>
                    <a:gd name="connsiteY6" fmla="*/ 0 h 1541688"/>
                    <a:gd name="connsiteX7" fmla="*/ 1074002 w 1276350"/>
                    <a:gd name="connsiteY7" fmla="*/ 435826 h 1541688"/>
                    <a:gd name="connsiteX8" fmla="*/ 1074002 w 1276350"/>
                    <a:gd name="connsiteY8" fmla="*/ 633716 h 1541688"/>
                    <a:gd name="connsiteX9" fmla="*/ 1125018 w 1276350"/>
                    <a:gd name="connsiteY9" fmla="*/ 633716 h 1541688"/>
                    <a:gd name="connsiteX10" fmla="*/ 1276350 w 1276350"/>
                    <a:gd name="connsiteY10" fmla="*/ 785048 h 1541688"/>
                    <a:gd name="connsiteX11" fmla="*/ 1276350 w 1276350"/>
                    <a:gd name="connsiteY11" fmla="*/ 1390356 h 1541688"/>
                    <a:gd name="connsiteX12" fmla="*/ 1125018 w 1276350"/>
                    <a:gd name="connsiteY12" fmla="*/ 1541688 h 1541688"/>
                    <a:gd name="connsiteX13" fmla="*/ 151332 w 1276350"/>
                    <a:gd name="connsiteY13" fmla="*/ 1541688 h 1541688"/>
                    <a:gd name="connsiteX14" fmla="*/ 0 w 1276350"/>
                    <a:gd name="connsiteY14" fmla="*/ 1390356 h 1541688"/>
                    <a:gd name="connsiteX15" fmla="*/ 0 w 1276350"/>
                    <a:gd name="connsiteY15" fmla="*/ 785048 h 1541688"/>
                    <a:gd name="connsiteX16" fmla="*/ 151332 w 1276350"/>
                    <a:gd name="connsiteY16" fmla="*/ 633716 h 1541688"/>
                    <a:gd name="connsiteX17" fmla="*/ 202349 w 1276350"/>
                    <a:gd name="connsiteY17" fmla="*/ 633716 h 1541688"/>
                    <a:gd name="connsiteX18" fmla="*/ 202349 w 1276350"/>
                    <a:gd name="connsiteY18" fmla="*/ 435826 h 1541688"/>
                    <a:gd name="connsiteX19" fmla="*/ 638175 w 1276350"/>
                    <a:gd name="connsiteY19" fmla="*/ 0 h 1541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276350" h="1541688">
                      <a:moveTo>
                        <a:pt x="638175" y="124522"/>
                      </a:moveTo>
                      <a:cubicBezTo>
                        <a:pt x="465921" y="124522"/>
                        <a:pt x="326870" y="263572"/>
                        <a:pt x="326870" y="435826"/>
                      </a:cubicBezTo>
                      <a:lnTo>
                        <a:pt x="326870" y="633716"/>
                      </a:lnTo>
                      <a:lnTo>
                        <a:pt x="949480" y="633716"/>
                      </a:lnTo>
                      <a:lnTo>
                        <a:pt x="949480" y="435826"/>
                      </a:lnTo>
                      <a:cubicBezTo>
                        <a:pt x="949480" y="263572"/>
                        <a:pt x="810432" y="124522"/>
                        <a:pt x="638175" y="124522"/>
                      </a:cubicBezTo>
                      <a:close/>
                      <a:moveTo>
                        <a:pt x="638175" y="0"/>
                      </a:moveTo>
                      <a:cubicBezTo>
                        <a:pt x="878917" y="0"/>
                        <a:pt x="1074002" y="195084"/>
                        <a:pt x="1074002" y="435826"/>
                      </a:cubicBezTo>
                      <a:lnTo>
                        <a:pt x="1074002" y="633716"/>
                      </a:lnTo>
                      <a:lnTo>
                        <a:pt x="1125018" y="633716"/>
                      </a:lnTo>
                      <a:cubicBezTo>
                        <a:pt x="1208596" y="633716"/>
                        <a:pt x="1276350" y="701470"/>
                        <a:pt x="1276350" y="785048"/>
                      </a:cubicBezTo>
                      <a:lnTo>
                        <a:pt x="1276350" y="1390356"/>
                      </a:lnTo>
                      <a:cubicBezTo>
                        <a:pt x="1276350" y="1473934"/>
                        <a:pt x="1208596" y="1541688"/>
                        <a:pt x="1125018" y="1541688"/>
                      </a:cubicBezTo>
                      <a:lnTo>
                        <a:pt x="151332" y="1541688"/>
                      </a:lnTo>
                      <a:cubicBezTo>
                        <a:pt x="67754" y="1541688"/>
                        <a:pt x="0" y="1473934"/>
                        <a:pt x="0" y="1390356"/>
                      </a:cubicBezTo>
                      <a:lnTo>
                        <a:pt x="0" y="785048"/>
                      </a:lnTo>
                      <a:cubicBezTo>
                        <a:pt x="0" y="701470"/>
                        <a:pt x="67754" y="633716"/>
                        <a:pt x="151332" y="633716"/>
                      </a:cubicBezTo>
                      <a:lnTo>
                        <a:pt x="202349" y="633716"/>
                      </a:lnTo>
                      <a:lnTo>
                        <a:pt x="202349" y="435826"/>
                      </a:lnTo>
                      <a:cubicBezTo>
                        <a:pt x="202349" y="195084"/>
                        <a:pt x="397433" y="0"/>
                        <a:pt x="638175" y="0"/>
                      </a:cubicBezTo>
                      <a:close/>
                    </a:path>
                  </a:pathLst>
                </a:custGeom>
                <a:grpFill/>
                <a:ln w="9525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14213"/>
                  <a:endParaRPr lang="en-GB" sz="1013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260" name="Gruppieren 259">
                  <a:extLst>
                    <a:ext uri="{FF2B5EF4-FFF2-40B4-BE49-F238E27FC236}">
                      <a16:creationId xmlns:a16="http://schemas.microsoft.com/office/drawing/2014/main" id="{8D431A57-A3FD-3575-9A85-706EFD606E5C}"/>
                    </a:ext>
                  </a:extLst>
                </p:cNvPr>
                <p:cNvGrpSpPr/>
                <p:nvPr/>
              </p:nvGrpSpPr>
              <p:grpSpPr>
                <a:xfrm>
                  <a:off x="627698" y="3935299"/>
                  <a:ext cx="395708" cy="398670"/>
                  <a:chOff x="6562726" y="6648171"/>
                  <a:chExt cx="636587" cy="641350"/>
                </a:xfrm>
              </p:grpSpPr>
              <p:sp>
                <p:nvSpPr>
                  <p:cNvPr id="271" name="Freeform 270">
                    <a:extLst>
                      <a:ext uri="{FF2B5EF4-FFF2-40B4-BE49-F238E27FC236}">
                        <a16:creationId xmlns:a16="http://schemas.microsoft.com/office/drawing/2014/main" id="{F8DEB5FE-0CB0-9FF0-899F-DCB93BB2A0A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62726" y="6724371"/>
                    <a:ext cx="444500" cy="565150"/>
                  </a:xfrm>
                  <a:custGeom>
                    <a:avLst/>
                    <a:gdLst>
                      <a:gd name="T0" fmla="*/ 29 w 118"/>
                      <a:gd name="T1" fmla="*/ 0 h 150"/>
                      <a:gd name="T2" fmla="*/ 0 w 118"/>
                      <a:gd name="T3" fmla="*/ 65 h 150"/>
                      <a:gd name="T4" fmla="*/ 84 w 118"/>
                      <a:gd name="T5" fmla="*/ 150 h 150"/>
                      <a:gd name="T6" fmla="*/ 118 w 118"/>
                      <a:gd name="T7" fmla="*/ 143 h 15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18" h="150">
                        <a:moveTo>
                          <a:pt x="29" y="0"/>
                        </a:moveTo>
                        <a:cubicBezTo>
                          <a:pt x="11" y="16"/>
                          <a:pt x="0" y="39"/>
                          <a:pt x="0" y="65"/>
                        </a:cubicBezTo>
                        <a:cubicBezTo>
                          <a:pt x="0" y="112"/>
                          <a:pt x="38" y="150"/>
                          <a:pt x="84" y="150"/>
                        </a:cubicBezTo>
                        <a:cubicBezTo>
                          <a:pt x="96" y="150"/>
                          <a:pt x="108" y="147"/>
                          <a:pt x="118" y="143"/>
                        </a:cubicBezTo>
                      </a:path>
                    </a:pathLst>
                  </a:cu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72" name="Freeform 271">
                    <a:extLst>
                      <a:ext uri="{FF2B5EF4-FFF2-40B4-BE49-F238E27FC236}">
                        <a16:creationId xmlns:a16="http://schemas.microsoft.com/office/drawing/2014/main" id="{8D4FDF2E-A104-403D-3193-6C4E3001F9F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754813" y="6648171"/>
                    <a:ext cx="444500" cy="561975"/>
                  </a:xfrm>
                  <a:custGeom>
                    <a:avLst/>
                    <a:gdLst>
                      <a:gd name="T0" fmla="*/ 89 w 118"/>
                      <a:gd name="T1" fmla="*/ 149 h 149"/>
                      <a:gd name="T2" fmla="*/ 118 w 118"/>
                      <a:gd name="T3" fmla="*/ 85 h 149"/>
                      <a:gd name="T4" fmla="*/ 33 w 118"/>
                      <a:gd name="T5" fmla="*/ 0 h 149"/>
                      <a:gd name="T6" fmla="*/ 0 w 118"/>
                      <a:gd name="T7" fmla="*/ 7 h 1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18" h="149">
                        <a:moveTo>
                          <a:pt x="89" y="149"/>
                        </a:moveTo>
                        <a:cubicBezTo>
                          <a:pt x="107" y="134"/>
                          <a:pt x="118" y="111"/>
                          <a:pt x="118" y="85"/>
                        </a:cubicBezTo>
                        <a:cubicBezTo>
                          <a:pt x="118" y="38"/>
                          <a:pt x="80" y="0"/>
                          <a:pt x="33" y="0"/>
                        </a:cubicBezTo>
                        <a:cubicBezTo>
                          <a:pt x="22" y="0"/>
                          <a:pt x="10" y="2"/>
                          <a:pt x="0" y="7"/>
                        </a:cubicBezTo>
                      </a:path>
                    </a:pathLst>
                  </a:cu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73" name="Freeform 272">
                    <a:extLst>
                      <a:ext uri="{FF2B5EF4-FFF2-40B4-BE49-F238E27FC236}">
                        <a16:creationId xmlns:a16="http://schemas.microsoft.com/office/drawing/2014/main" id="{2D5FAFEC-9071-13D1-3B05-49AA46E5C54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573838" y="6724371"/>
                    <a:ext cx="101600" cy="101600"/>
                  </a:xfrm>
                  <a:custGeom>
                    <a:avLst/>
                    <a:gdLst>
                      <a:gd name="T0" fmla="*/ 0 w 64"/>
                      <a:gd name="T1" fmla="*/ 0 h 64"/>
                      <a:gd name="T2" fmla="*/ 64 w 64"/>
                      <a:gd name="T3" fmla="*/ 0 h 64"/>
                      <a:gd name="T4" fmla="*/ 64 w 64"/>
                      <a:gd name="T5" fmla="*/ 64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64" h="64">
                        <a:moveTo>
                          <a:pt x="0" y="0"/>
                        </a:moveTo>
                        <a:lnTo>
                          <a:pt x="64" y="0"/>
                        </a:lnTo>
                        <a:lnTo>
                          <a:pt x="64" y="64"/>
                        </a:lnTo>
                      </a:path>
                    </a:pathLst>
                  </a:cu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74" name="Freeform 273">
                    <a:extLst>
                      <a:ext uri="{FF2B5EF4-FFF2-40B4-BE49-F238E27FC236}">
                        <a16:creationId xmlns:a16="http://schemas.microsoft.com/office/drawing/2014/main" id="{CD641D72-E693-8AFF-CE88-FAC360A1F52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7086601" y="7108546"/>
                    <a:ext cx="101600" cy="101600"/>
                  </a:xfrm>
                  <a:custGeom>
                    <a:avLst/>
                    <a:gdLst>
                      <a:gd name="T0" fmla="*/ 0 w 64"/>
                      <a:gd name="T1" fmla="*/ 0 h 64"/>
                      <a:gd name="T2" fmla="*/ 0 w 64"/>
                      <a:gd name="T3" fmla="*/ 64 h 64"/>
                      <a:gd name="T4" fmla="*/ 64 w 64"/>
                      <a:gd name="T5" fmla="*/ 64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64" h="64">
                        <a:moveTo>
                          <a:pt x="0" y="0"/>
                        </a:moveTo>
                        <a:lnTo>
                          <a:pt x="0" y="64"/>
                        </a:lnTo>
                        <a:lnTo>
                          <a:pt x="64" y="64"/>
                        </a:lnTo>
                      </a:path>
                    </a:pathLst>
                  </a:cu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  <p:sp>
                <p:nvSpPr>
                  <p:cNvPr id="275" name="Freeform 275">
                    <a:extLst>
                      <a:ext uri="{FF2B5EF4-FFF2-40B4-BE49-F238E27FC236}">
                        <a16:creationId xmlns:a16="http://schemas.microsoft.com/office/drawing/2014/main" id="{858155FA-8DB0-FF90-A750-FA3793B1663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6726520" y="6879608"/>
                    <a:ext cx="309000" cy="203876"/>
                  </a:xfrm>
                  <a:custGeom>
                    <a:avLst/>
                    <a:gdLst>
                      <a:gd name="T0" fmla="*/ 97 w 97"/>
                      <a:gd name="T1" fmla="*/ 0 h 64"/>
                      <a:gd name="T2" fmla="*/ 64 w 97"/>
                      <a:gd name="T3" fmla="*/ 31 h 64"/>
                      <a:gd name="T4" fmla="*/ 33 w 97"/>
                      <a:gd name="T5" fmla="*/ 64 h 64"/>
                      <a:gd name="T6" fmla="*/ 0 w 97"/>
                      <a:gd name="T7" fmla="*/ 31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97" h="64">
                        <a:moveTo>
                          <a:pt x="97" y="0"/>
                        </a:moveTo>
                        <a:lnTo>
                          <a:pt x="64" y="31"/>
                        </a:lnTo>
                        <a:lnTo>
                          <a:pt x="33" y="64"/>
                        </a:lnTo>
                        <a:lnTo>
                          <a:pt x="0" y="31"/>
                        </a:lnTo>
                      </a:path>
                    </a:pathLst>
                  </a:custGeom>
                  <a:noFill/>
                  <a:ln w="9525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dirty="0"/>
                  </a:p>
                </p:txBody>
              </p:sp>
            </p:grpSp>
          </p:grpSp>
        </p:grpSp>
        <p:sp>
          <p:nvSpPr>
            <p:cNvPr id="86" name="Textplatzhalter 2">
              <a:extLst>
                <a:ext uri="{FF2B5EF4-FFF2-40B4-BE49-F238E27FC236}">
                  <a16:creationId xmlns:a16="http://schemas.microsoft.com/office/drawing/2014/main" id="{92E5C6C9-EF77-65F9-C3B5-F4745DEA1A66}"/>
                </a:ext>
              </a:extLst>
            </p:cNvPr>
            <p:cNvSpPr txBox="1">
              <a:spLocks/>
            </p:cNvSpPr>
            <p:nvPr/>
          </p:nvSpPr>
          <p:spPr>
            <a:xfrm>
              <a:off x="1538776" y="4214451"/>
              <a:ext cx="1712007" cy="415498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44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Wingdings" pitchFamily="2" charset="2"/>
                <a:buChar char="§"/>
                <a:tabLst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88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2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76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44000" algn="l" defTabSz="987128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3846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08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500" dirty="0">
                  <a:solidFill>
                    <a:schemeClr val="accent6"/>
                  </a:solidFill>
                </a:rPr>
                <a:t>secured</a:t>
              </a:r>
              <a:br>
                <a:rPr lang="en-GB" sz="1600" dirty="0">
                  <a:solidFill>
                    <a:schemeClr val="tx1"/>
                  </a:solidFill>
                </a:rPr>
              </a:br>
              <a:r>
                <a:rPr lang="en-GB" sz="1200" dirty="0">
                  <a:solidFill>
                    <a:schemeClr val="tx1"/>
                  </a:solidFill>
                </a:rPr>
                <a:t>examination environment</a:t>
              </a:r>
            </a:p>
          </p:txBody>
        </p:sp>
      </p:grpSp>
      <p:grpSp>
        <p:nvGrpSpPr>
          <p:cNvPr id="348" name="Gruppieren 347">
            <a:extLst>
              <a:ext uri="{FF2B5EF4-FFF2-40B4-BE49-F238E27FC236}">
                <a16:creationId xmlns:a16="http://schemas.microsoft.com/office/drawing/2014/main" id="{33EA6023-6AF5-BFF5-7E55-275C94FAE44A}"/>
              </a:ext>
            </a:extLst>
          </p:cNvPr>
          <p:cNvGrpSpPr/>
          <p:nvPr/>
        </p:nvGrpSpPr>
        <p:grpSpPr>
          <a:xfrm>
            <a:off x="4245033" y="3654987"/>
            <a:ext cx="1426673" cy="974962"/>
            <a:chOff x="4245033" y="3654987"/>
            <a:chExt cx="1426673" cy="974962"/>
          </a:xfrm>
        </p:grpSpPr>
        <p:grpSp>
          <p:nvGrpSpPr>
            <p:cNvPr id="339" name="Gruppieren 338">
              <a:extLst>
                <a:ext uri="{FF2B5EF4-FFF2-40B4-BE49-F238E27FC236}">
                  <a16:creationId xmlns:a16="http://schemas.microsoft.com/office/drawing/2014/main" id="{ABCB96E1-91D5-CDBA-FCE8-D2B40797D2EB}"/>
                </a:ext>
              </a:extLst>
            </p:cNvPr>
            <p:cNvGrpSpPr/>
            <p:nvPr/>
          </p:nvGrpSpPr>
          <p:grpSpPr>
            <a:xfrm>
              <a:off x="4630375" y="3654987"/>
              <a:ext cx="655988" cy="655989"/>
              <a:chOff x="4621302" y="3677980"/>
              <a:chExt cx="655988" cy="655989"/>
            </a:xfrm>
          </p:grpSpPr>
          <p:sp>
            <p:nvSpPr>
              <p:cNvPr id="94" name="Ellipse 305">
                <a:extLst>
                  <a:ext uri="{FF2B5EF4-FFF2-40B4-BE49-F238E27FC236}">
                    <a16:creationId xmlns:a16="http://schemas.microsoft.com/office/drawing/2014/main" id="{B84D08FE-D8DA-DA40-2E35-1210BAFF3669}"/>
                  </a:ext>
                </a:extLst>
              </p:cNvPr>
              <p:cNvSpPr/>
              <p:nvPr/>
            </p:nvSpPr>
            <p:spPr>
              <a:xfrm>
                <a:off x="4621302" y="3677980"/>
                <a:ext cx="655988" cy="65598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endParaRPr lang="en-GB" sz="1800" dirty="0">
                  <a:solidFill>
                    <a:schemeClr val="tx1"/>
                  </a:solidFill>
                  <a:latin typeface="Arial"/>
                </a:endParaRPr>
              </a:p>
            </p:txBody>
          </p:sp>
          <p:grpSp>
            <p:nvGrpSpPr>
              <p:cNvPr id="328" name="Gruppieren 327">
                <a:extLst>
                  <a:ext uri="{FF2B5EF4-FFF2-40B4-BE49-F238E27FC236}">
                    <a16:creationId xmlns:a16="http://schemas.microsoft.com/office/drawing/2014/main" id="{63806AEC-5318-A3B8-EB84-A8279B607148}"/>
                  </a:ext>
                </a:extLst>
              </p:cNvPr>
              <p:cNvGrpSpPr/>
              <p:nvPr/>
            </p:nvGrpSpPr>
            <p:grpSpPr>
              <a:xfrm>
                <a:off x="4746659" y="3847226"/>
                <a:ext cx="405274" cy="317496"/>
                <a:chOff x="327010" y="4171659"/>
                <a:chExt cx="405274" cy="317496"/>
              </a:xfrm>
            </p:grpSpPr>
            <p:grpSp>
              <p:nvGrpSpPr>
                <p:cNvPr id="327" name="Gruppieren 326">
                  <a:extLst>
                    <a:ext uri="{FF2B5EF4-FFF2-40B4-BE49-F238E27FC236}">
                      <a16:creationId xmlns:a16="http://schemas.microsoft.com/office/drawing/2014/main" id="{3372BB33-3F10-CDE8-BB9F-84FC4657D5DF}"/>
                    </a:ext>
                  </a:extLst>
                </p:cNvPr>
                <p:cNvGrpSpPr/>
                <p:nvPr/>
              </p:nvGrpSpPr>
              <p:grpSpPr>
                <a:xfrm>
                  <a:off x="378634" y="4247152"/>
                  <a:ext cx="302026" cy="119818"/>
                  <a:chOff x="326360" y="3527125"/>
                  <a:chExt cx="538993" cy="213827"/>
                </a:xfrm>
              </p:grpSpPr>
              <p:sp>
                <p:nvSpPr>
                  <p:cNvPr id="99" name="Freihandform: Form 175">
                    <a:extLst>
                      <a:ext uri="{FF2B5EF4-FFF2-40B4-BE49-F238E27FC236}">
                        <a16:creationId xmlns:a16="http://schemas.microsoft.com/office/drawing/2014/main" id="{40D2E038-F4C4-18A6-4E96-56939456FC88}"/>
                      </a:ext>
                    </a:extLst>
                  </p:cNvPr>
                  <p:cNvSpPr/>
                  <p:nvPr/>
                </p:nvSpPr>
                <p:spPr>
                  <a:xfrm flipH="1">
                    <a:off x="620777" y="3528004"/>
                    <a:ext cx="244576" cy="203768"/>
                  </a:xfrm>
                  <a:custGeom>
                    <a:avLst/>
                    <a:gdLst>
                      <a:gd name="connsiteX0" fmla="*/ 727379 w 2247901"/>
                      <a:gd name="connsiteY0" fmla="*/ 635243 h 1872830"/>
                      <a:gd name="connsiteX1" fmla="*/ 686772 w 2247901"/>
                      <a:gd name="connsiteY1" fmla="*/ 684459 h 1872830"/>
                      <a:gd name="connsiteX2" fmla="*/ 609810 w 2247901"/>
                      <a:gd name="connsiteY2" fmla="*/ 936416 h 1872830"/>
                      <a:gd name="connsiteX3" fmla="*/ 686772 w 2247901"/>
                      <a:gd name="connsiteY3" fmla="*/ 1188373 h 1872830"/>
                      <a:gd name="connsiteX4" fmla="*/ 692501 w 2247901"/>
                      <a:gd name="connsiteY4" fmla="*/ 1195317 h 1872830"/>
                      <a:gd name="connsiteX5" fmla="*/ 808466 w 2247901"/>
                      <a:gd name="connsiteY5" fmla="*/ 1079352 h 1872830"/>
                      <a:gd name="connsiteX6" fmla="*/ 792355 w 2247901"/>
                      <a:gd name="connsiteY6" fmla="*/ 1049671 h 1872830"/>
                      <a:gd name="connsiteX7" fmla="*/ 769490 w 2247901"/>
                      <a:gd name="connsiteY7" fmla="*/ 936416 h 1872830"/>
                      <a:gd name="connsiteX8" fmla="*/ 819181 w 2247901"/>
                      <a:gd name="connsiteY8" fmla="*/ 773737 h 1872830"/>
                      <a:gd name="connsiteX9" fmla="*/ 840290 w 2247901"/>
                      <a:gd name="connsiteY9" fmla="*/ 748154 h 1872830"/>
                      <a:gd name="connsiteX10" fmla="*/ 514098 w 2247901"/>
                      <a:gd name="connsiteY10" fmla="*/ 421962 h 1872830"/>
                      <a:gd name="connsiteX11" fmla="*/ 436660 w 2247901"/>
                      <a:gd name="connsiteY11" fmla="*/ 515818 h 1872830"/>
                      <a:gd name="connsiteX12" fmla="*/ 308185 w 2247901"/>
                      <a:gd name="connsiteY12" fmla="*/ 936416 h 1872830"/>
                      <a:gd name="connsiteX13" fmla="*/ 436660 w 2247901"/>
                      <a:gd name="connsiteY13" fmla="*/ 1357014 h 1872830"/>
                      <a:gd name="connsiteX14" fmla="*/ 479221 w 2247901"/>
                      <a:gd name="connsiteY14" fmla="*/ 1408598 h 1872830"/>
                      <a:gd name="connsiteX15" fmla="*/ 585341 w 2247901"/>
                      <a:gd name="connsiteY15" fmla="*/ 1302477 h 1872830"/>
                      <a:gd name="connsiteX16" fmla="*/ 561107 w 2247901"/>
                      <a:gd name="connsiteY16" fmla="*/ 1273105 h 1872830"/>
                      <a:gd name="connsiteX17" fmla="*/ 458262 w 2247901"/>
                      <a:gd name="connsiteY17" fmla="*/ 936416 h 1872830"/>
                      <a:gd name="connsiteX18" fmla="*/ 561107 w 2247901"/>
                      <a:gd name="connsiteY18" fmla="*/ 599727 h 1872830"/>
                      <a:gd name="connsiteX19" fmla="*/ 620219 w 2247901"/>
                      <a:gd name="connsiteY19" fmla="*/ 528083 h 1872830"/>
                      <a:gd name="connsiteX20" fmla="*/ 295411 w 2247901"/>
                      <a:gd name="connsiteY20" fmla="*/ 203275 h 1872830"/>
                      <a:gd name="connsiteX21" fmla="*/ 242156 w 2247901"/>
                      <a:gd name="connsiteY21" fmla="*/ 261872 h 1872830"/>
                      <a:gd name="connsiteX22" fmla="*/ 0 w 2247901"/>
                      <a:gd name="connsiteY22" fmla="*/ 936416 h 1872830"/>
                      <a:gd name="connsiteX23" fmla="*/ 242156 w 2247901"/>
                      <a:gd name="connsiteY23" fmla="*/ 1610961 h 1872830"/>
                      <a:gd name="connsiteX24" fmla="*/ 258678 w 2247901"/>
                      <a:gd name="connsiteY24" fmla="*/ 1629140 h 1872830"/>
                      <a:gd name="connsiteX25" fmla="*/ 369759 w 2247901"/>
                      <a:gd name="connsiteY25" fmla="*/ 1518059 h 1872830"/>
                      <a:gd name="connsiteX26" fmla="*/ 308296 w 2247901"/>
                      <a:gd name="connsiteY26" fmla="*/ 1443566 h 1872830"/>
                      <a:gd name="connsiteX27" fmla="*/ 153383 w 2247901"/>
                      <a:gd name="connsiteY27" fmla="*/ 936416 h 1872830"/>
                      <a:gd name="connsiteX28" fmla="*/ 308296 w 2247901"/>
                      <a:gd name="connsiteY28" fmla="*/ 429266 h 1872830"/>
                      <a:gd name="connsiteX29" fmla="*/ 404637 w 2247901"/>
                      <a:gd name="connsiteY29" fmla="*/ 312501 h 1872830"/>
                      <a:gd name="connsiteX30" fmla="*/ 1008880 w 2247901"/>
                      <a:gd name="connsiteY30" fmla="*/ 0 h 1872830"/>
                      <a:gd name="connsiteX31" fmla="*/ 1008880 w 2247901"/>
                      <a:gd name="connsiteY31" fmla="*/ 1872830 h 1872830"/>
                      <a:gd name="connsiteX32" fmla="*/ 1677536 w 2247901"/>
                      <a:gd name="connsiteY32" fmla="*/ 1305616 h 1872830"/>
                      <a:gd name="connsiteX33" fmla="*/ 1677536 w 2247901"/>
                      <a:gd name="connsiteY33" fmla="*/ 1306302 h 1872830"/>
                      <a:gd name="connsiteX34" fmla="*/ 2247901 w 2247901"/>
                      <a:gd name="connsiteY34" fmla="*/ 1306302 h 1872830"/>
                      <a:gd name="connsiteX35" fmla="*/ 2247901 w 2247901"/>
                      <a:gd name="connsiteY35" fmla="*/ 566527 h 1872830"/>
                      <a:gd name="connsiteX36" fmla="*/ 1677536 w 2247901"/>
                      <a:gd name="connsiteY36" fmla="*/ 566527 h 1872830"/>
                      <a:gd name="connsiteX37" fmla="*/ 1677536 w 2247901"/>
                      <a:gd name="connsiteY37" fmla="*/ 567214 h 18728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2247901" h="1872830">
                        <a:moveTo>
                          <a:pt x="727379" y="635243"/>
                        </a:moveTo>
                        <a:lnTo>
                          <a:pt x="686772" y="684459"/>
                        </a:lnTo>
                        <a:cubicBezTo>
                          <a:pt x="638182" y="756381"/>
                          <a:pt x="609810" y="843085"/>
                          <a:pt x="609810" y="936416"/>
                        </a:cubicBezTo>
                        <a:cubicBezTo>
                          <a:pt x="609810" y="1029747"/>
                          <a:pt x="638182" y="1116451"/>
                          <a:pt x="686772" y="1188373"/>
                        </a:cubicBezTo>
                        <a:lnTo>
                          <a:pt x="692501" y="1195317"/>
                        </a:lnTo>
                        <a:lnTo>
                          <a:pt x="808466" y="1079352"/>
                        </a:lnTo>
                        <a:lnTo>
                          <a:pt x="792355" y="1049671"/>
                        </a:lnTo>
                        <a:cubicBezTo>
                          <a:pt x="777632" y="1014861"/>
                          <a:pt x="769490" y="976589"/>
                          <a:pt x="769490" y="936416"/>
                        </a:cubicBezTo>
                        <a:cubicBezTo>
                          <a:pt x="769490" y="876156"/>
                          <a:pt x="787809" y="820175"/>
                          <a:pt x="819181" y="773737"/>
                        </a:cubicBezTo>
                        <a:lnTo>
                          <a:pt x="840290" y="748154"/>
                        </a:lnTo>
                        <a:close/>
                        <a:moveTo>
                          <a:pt x="514098" y="421962"/>
                        </a:moveTo>
                        <a:lnTo>
                          <a:pt x="436660" y="515818"/>
                        </a:lnTo>
                        <a:cubicBezTo>
                          <a:pt x="355548" y="635880"/>
                          <a:pt x="308185" y="780617"/>
                          <a:pt x="308185" y="936416"/>
                        </a:cubicBezTo>
                        <a:cubicBezTo>
                          <a:pt x="308185" y="1092215"/>
                          <a:pt x="355548" y="1236952"/>
                          <a:pt x="436660" y="1357014"/>
                        </a:cubicBezTo>
                        <a:lnTo>
                          <a:pt x="479221" y="1408598"/>
                        </a:lnTo>
                        <a:lnTo>
                          <a:pt x="585341" y="1302477"/>
                        </a:lnTo>
                        <a:lnTo>
                          <a:pt x="561107" y="1273105"/>
                        </a:lnTo>
                        <a:cubicBezTo>
                          <a:pt x="496176" y="1176995"/>
                          <a:pt x="458262" y="1061133"/>
                          <a:pt x="458262" y="936416"/>
                        </a:cubicBezTo>
                        <a:cubicBezTo>
                          <a:pt x="458262" y="811699"/>
                          <a:pt x="496176" y="695837"/>
                          <a:pt x="561107" y="599727"/>
                        </a:cubicBezTo>
                        <a:lnTo>
                          <a:pt x="620219" y="528083"/>
                        </a:lnTo>
                        <a:close/>
                        <a:moveTo>
                          <a:pt x="295411" y="203275"/>
                        </a:moveTo>
                        <a:lnTo>
                          <a:pt x="242156" y="261872"/>
                        </a:lnTo>
                        <a:cubicBezTo>
                          <a:pt x="90876" y="445180"/>
                          <a:pt x="0" y="680185"/>
                          <a:pt x="0" y="936416"/>
                        </a:cubicBezTo>
                        <a:cubicBezTo>
                          <a:pt x="0" y="1192647"/>
                          <a:pt x="90876" y="1427652"/>
                          <a:pt x="242156" y="1610961"/>
                        </a:cubicBezTo>
                        <a:lnTo>
                          <a:pt x="258678" y="1629140"/>
                        </a:lnTo>
                        <a:lnTo>
                          <a:pt x="369759" y="1518059"/>
                        </a:lnTo>
                        <a:lnTo>
                          <a:pt x="308296" y="1443566"/>
                        </a:lnTo>
                        <a:cubicBezTo>
                          <a:pt x="210492" y="1298797"/>
                          <a:pt x="153383" y="1124276"/>
                          <a:pt x="153383" y="936416"/>
                        </a:cubicBezTo>
                        <a:cubicBezTo>
                          <a:pt x="153383" y="748556"/>
                          <a:pt x="210492" y="574035"/>
                          <a:pt x="308296" y="429266"/>
                        </a:cubicBezTo>
                        <a:lnTo>
                          <a:pt x="404637" y="312501"/>
                        </a:lnTo>
                        <a:close/>
                        <a:moveTo>
                          <a:pt x="1008880" y="0"/>
                        </a:moveTo>
                        <a:lnTo>
                          <a:pt x="1008880" y="1872830"/>
                        </a:lnTo>
                        <a:lnTo>
                          <a:pt x="1677536" y="1305616"/>
                        </a:lnTo>
                        <a:lnTo>
                          <a:pt x="1677536" y="1306302"/>
                        </a:lnTo>
                        <a:lnTo>
                          <a:pt x="2247901" y="1306302"/>
                        </a:lnTo>
                        <a:lnTo>
                          <a:pt x="2247901" y="566527"/>
                        </a:lnTo>
                        <a:lnTo>
                          <a:pt x="1677536" y="566527"/>
                        </a:lnTo>
                        <a:lnTo>
                          <a:pt x="1677536" y="567214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6350">
                    <a:solidFill>
                      <a:schemeClr val="accent6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 defTabSz="914378"/>
                    <a:endParaRPr lang="en-GB" sz="1800" dirty="0">
                      <a:solidFill>
                        <a:schemeClr val="tx1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14" name="Rechteck 313">
                    <a:extLst>
                      <a:ext uri="{FF2B5EF4-FFF2-40B4-BE49-F238E27FC236}">
                        <a16:creationId xmlns:a16="http://schemas.microsoft.com/office/drawing/2014/main" id="{A161FBC2-DB6D-7A12-65CC-5D32D3F11EF6}"/>
                      </a:ext>
                    </a:extLst>
                  </p:cNvPr>
                  <p:cNvSpPr/>
                  <p:nvPr/>
                </p:nvSpPr>
                <p:spPr>
                  <a:xfrm>
                    <a:off x="326360" y="3527125"/>
                    <a:ext cx="250825" cy="213827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 cap="rnd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kern="0" dirty="0">
                      <a:solidFill>
                        <a:srgbClr val="404955"/>
                      </a:solidFill>
                      <a:latin typeface="Arial"/>
                    </a:endParaRPr>
                  </a:p>
                </p:txBody>
              </p:sp>
            </p:grpSp>
            <p:sp>
              <p:nvSpPr>
                <p:cNvPr id="320" name="Line 195">
                  <a:extLst>
                    <a:ext uri="{FF2B5EF4-FFF2-40B4-BE49-F238E27FC236}">
                      <a16:creationId xmlns:a16="http://schemas.microsoft.com/office/drawing/2014/main" id="{151F7559-3203-716E-E3DB-657425E145F3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93228" y="4442464"/>
                  <a:ext cx="0" cy="46691"/>
                </a:xfrm>
                <a:prstGeom prst="line">
                  <a:avLst/>
                </a:prstGeom>
                <a:noFill/>
                <a:ln w="9525" cap="flat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321" name="Line 196">
                  <a:extLst>
                    <a:ext uri="{FF2B5EF4-FFF2-40B4-BE49-F238E27FC236}">
                      <a16:creationId xmlns:a16="http://schemas.microsoft.com/office/drawing/2014/main" id="{D8429614-4940-4D31-B473-5D9B69E0C88D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462413" y="4489155"/>
                  <a:ext cx="135403" cy="0"/>
                </a:xfrm>
                <a:prstGeom prst="line">
                  <a:avLst/>
                </a:prstGeom>
                <a:noFill/>
                <a:ln w="9525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322" name="Line 199">
                  <a:extLst>
                    <a:ext uri="{FF2B5EF4-FFF2-40B4-BE49-F238E27FC236}">
                      <a16:creationId xmlns:a16="http://schemas.microsoft.com/office/drawing/2014/main" id="{9AEB976E-3A72-2D6B-BE6D-EEF6AF593DC5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566066" y="4442464"/>
                  <a:ext cx="0" cy="46691"/>
                </a:xfrm>
                <a:prstGeom prst="line">
                  <a:avLst/>
                </a:prstGeom>
                <a:noFill/>
                <a:ln w="9525" cap="flat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323" name="Freihandform: Form 322">
                  <a:extLst>
                    <a:ext uri="{FF2B5EF4-FFF2-40B4-BE49-F238E27FC236}">
                      <a16:creationId xmlns:a16="http://schemas.microsoft.com/office/drawing/2014/main" id="{932138F3-DB8D-C40C-3F7C-DD41E92CD162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 flipV="1">
                  <a:off x="327010" y="4171659"/>
                  <a:ext cx="405274" cy="270805"/>
                </a:xfrm>
                <a:custGeom>
                  <a:avLst/>
                  <a:gdLst>
                    <a:gd name="connsiteX0" fmla="*/ 96556 w 2524234"/>
                    <a:gd name="connsiteY0" fmla="*/ 1686702 h 1686702"/>
                    <a:gd name="connsiteX1" fmla="*/ 97633 w 2524234"/>
                    <a:gd name="connsiteY1" fmla="*/ 1686702 h 1686702"/>
                    <a:gd name="connsiteX2" fmla="*/ 105177 w 2524234"/>
                    <a:gd name="connsiteY2" fmla="*/ 1686702 h 1686702"/>
                    <a:gd name="connsiteX3" fmla="*/ 125652 w 2524234"/>
                    <a:gd name="connsiteY3" fmla="*/ 1686702 h 1686702"/>
                    <a:gd name="connsiteX4" fmla="*/ 165524 w 2524234"/>
                    <a:gd name="connsiteY4" fmla="*/ 1686702 h 1686702"/>
                    <a:gd name="connsiteX5" fmla="*/ 231259 w 2524234"/>
                    <a:gd name="connsiteY5" fmla="*/ 1686702 h 1686702"/>
                    <a:gd name="connsiteX6" fmla="*/ 308340 w 2524234"/>
                    <a:gd name="connsiteY6" fmla="*/ 1686702 h 1686702"/>
                    <a:gd name="connsiteX7" fmla="*/ 329323 w 2524234"/>
                    <a:gd name="connsiteY7" fmla="*/ 1686702 h 1686702"/>
                    <a:gd name="connsiteX8" fmla="*/ 392499 w 2524234"/>
                    <a:gd name="connsiteY8" fmla="*/ 1686702 h 1686702"/>
                    <a:gd name="connsiteX9" fmla="*/ 466182 w 2524234"/>
                    <a:gd name="connsiteY9" fmla="*/ 1686702 h 1686702"/>
                    <a:gd name="connsiteX10" fmla="*/ 506892 w 2524234"/>
                    <a:gd name="connsiteY10" fmla="*/ 1686702 h 1686702"/>
                    <a:gd name="connsiteX11" fmla="*/ 551180 w 2524234"/>
                    <a:gd name="connsiteY11" fmla="*/ 1686702 h 1686702"/>
                    <a:gd name="connsiteX12" fmla="*/ 648301 w 2524234"/>
                    <a:gd name="connsiteY12" fmla="*/ 1686702 h 1686702"/>
                    <a:gd name="connsiteX13" fmla="*/ 692640 w 2524234"/>
                    <a:gd name="connsiteY13" fmla="*/ 1686702 h 1686702"/>
                    <a:gd name="connsiteX14" fmla="*/ 1858557 w 2524234"/>
                    <a:gd name="connsiteY14" fmla="*/ 1686702 h 1686702"/>
                    <a:gd name="connsiteX15" fmla="*/ 1875934 w 2524234"/>
                    <a:gd name="connsiteY15" fmla="*/ 1686702 h 1686702"/>
                    <a:gd name="connsiteX16" fmla="*/ 1877011 w 2524234"/>
                    <a:gd name="connsiteY16" fmla="*/ 1686702 h 1686702"/>
                    <a:gd name="connsiteX17" fmla="*/ 1884555 w 2524234"/>
                    <a:gd name="connsiteY17" fmla="*/ 1686702 h 1686702"/>
                    <a:gd name="connsiteX18" fmla="*/ 1905030 w 2524234"/>
                    <a:gd name="connsiteY18" fmla="*/ 1686702 h 1686702"/>
                    <a:gd name="connsiteX19" fmla="*/ 1944902 w 2524234"/>
                    <a:gd name="connsiteY19" fmla="*/ 1686702 h 1686702"/>
                    <a:gd name="connsiteX20" fmla="*/ 2010637 w 2524234"/>
                    <a:gd name="connsiteY20" fmla="*/ 1686702 h 1686702"/>
                    <a:gd name="connsiteX21" fmla="*/ 2012789 w 2524234"/>
                    <a:gd name="connsiteY21" fmla="*/ 1686702 h 1686702"/>
                    <a:gd name="connsiteX22" fmla="*/ 2108701 w 2524234"/>
                    <a:gd name="connsiteY22" fmla="*/ 1686702 h 1686702"/>
                    <a:gd name="connsiteX23" fmla="*/ 2136288 w 2524234"/>
                    <a:gd name="connsiteY23" fmla="*/ 1686702 h 1686702"/>
                    <a:gd name="connsiteX24" fmla="*/ 2171877 w 2524234"/>
                    <a:gd name="connsiteY24" fmla="*/ 1686702 h 1686702"/>
                    <a:gd name="connsiteX25" fmla="*/ 2232470 w 2524234"/>
                    <a:gd name="connsiteY25" fmla="*/ 1686702 h 1686702"/>
                    <a:gd name="connsiteX26" fmla="*/ 2245560 w 2524234"/>
                    <a:gd name="connsiteY26" fmla="*/ 1686702 h 1686702"/>
                    <a:gd name="connsiteX27" fmla="*/ 2304748 w 2524234"/>
                    <a:gd name="connsiteY27" fmla="*/ 1686702 h 1686702"/>
                    <a:gd name="connsiteX28" fmla="*/ 2330558 w 2524234"/>
                    <a:gd name="connsiteY28" fmla="*/ 1686702 h 1686702"/>
                    <a:gd name="connsiteX29" fmla="*/ 2356539 w 2524234"/>
                    <a:gd name="connsiteY29" fmla="*/ 1686702 h 1686702"/>
                    <a:gd name="connsiteX30" fmla="*/ 2427679 w 2524234"/>
                    <a:gd name="connsiteY30" fmla="*/ 1686702 h 1686702"/>
                    <a:gd name="connsiteX31" fmla="*/ 2524234 w 2524234"/>
                    <a:gd name="connsiteY31" fmla="*/ 1603750 h 1686702"/>
                    <a:gd name="connsiteX32" fmla="*/ 2524234 w 2524234"/>
                    <a:gd name="connsiteY32" fmla="*/ 1589924 h 1686702"/>
                    <a:gd name="connsiteX33" fmla="*/ 2524234 w 2524234"/>
                    <a:gd name="connsiteY33" fmla="*/ 1586981 h 1686702"/>
                    <a:gd name="connsiteX34" fmla="*/ 2524234 w 2524234"/>
                    <a:gd name="connsiteY34" fmla="*/ 1579990 h 1686702"/>
                    <a:gd name="connsiteX35" fmla="*/ 2524234 w 2524234"/>
                    <a:gd name="connsiteY35" fmla="*/ 1566378 h 1686702"/>
                    <a:gd name="connsiteX36" fmla="*/ 2524234 w 2524234"/>
                    <a:gd name="connsiteY36" fmla="*/ 1543935 h 1686702"/>
                    <a:gd name="connsiteX37" fmla="*/ 2524234 w 2524234"/>
                    <a:gd name="connsiteY37" fmla="*/ 1510455 h 1686702"/>
                    <a:gd name="connsiteX38" fmla="*/ 2524234 w 2524234"/>
                    <a:gd name="connsiteY38" fmla="*/ 1466840 h 1686702"/>
                    <a:gd name="connsiteX39" fmla="*/ 2524234 w 2524234"/>
                    <a:gd name="connsiteY39" fmla="*/ 1463730 h 1686702"/>
                    <a:gd name="connsiteX40" fmla="*/ 2524234 w 2524234"/>
                    <a:gd name="connsiteY40" fmla="*/ 1401553 h 1686702"/>
                    <a:gd name="connsiteX41" fmla="*/ 2524234 w 2524234"/>
                    <a:gd name="connsiteY41" fmla="*/ 1338484 h 1686702"/>
                    <a:gd name="connsiteX42" fmla="*/ 2524234 w 2524234"/>
                    <a:gd name="connsiteY42" fmla="*/ 1321715 h 1686702"/>
                    <a:gd name="connsiteX43" fmla="*/ 2524234 w 2524234"/>
                    <a:gd name="connsiteY43" fmla="*/ 1222011 h 1686702"/>
                    <a:gd name="connsiteX44" fmla="*/ 2524234 w 2524234"/>
                    <a:gd name="connsiteY44" fmla="*/ 1218407 h 1686702"/>
                    <a:gd name="connsiteX45" fmla="*/ 2524234 w 2524234"/>
                    <a:gd name="connsiteY45" fmla="*/ 1106331 h 1686702"/>
                    <a:gd name="connsiteX46" fmla="*/ 2524234 w 2524234"/>
                    <a:gd name="connsiteY46" fmla="*/ 1100232 h 1686702"/>
                    <a:gd name="connsiteX47" fmla="*/ 2524234 w 2524234"/>
                    <a:gd name="connsiteY47" fmla="*/ 1001982 h 1686702"/>
                    <a:gd name="connsiteX48" fmla="*/ 2524234 w 2524234"/>
                    <a:gd name="connsiteY48" fmla="*/ 954171 h 1686702"/>
                    <a:gd name="connsiteX49" fmla="*/ 2524234 w 2524234"/>
                    <a:gd name="connsiteY49" fmla="*/ 905083 h 1686702"/>
                    <a:gd name="connsiteX50" fmla="*/ 2524234 w 2524234"/>
                    <a:gd name="connsiteY50" fmla="*/ 781619 h 1686702"/>
                    <a:gd name="connsiteX51" fmla="*/ 2524234 w 2524234"/>
                    <a:gd name="connsiteY51" fmla="*/ 732532 h 1686702"/>
                    <a:gd name="connsiteX52" fmla="*/ 2524234 w 2524234"/>
                    <a:gd name="connsiteY52" fmla="*/ 684720 h 1686702"/>
                    <a:gd name="connsiteX53" fmla="*/ 2524234 w 2524234"/>
                    <a:gd name="connsiteY53" fmla="*/ 586470 h 1686702"/>
                    <a:gd name="connsiteX54" fmla="*/ 2524234 w 2524234"/>
                    <a:gd name="connsiteY54" fmla="*/ 580371 h 1686702"/>
                    <a:gd name="connsiteX55" fmla="*/ 2524234 w 2524234"/>
                    <a:gd name="connsiteY55" fmla="*/ 468295 h 1686702"/>
                    <a:gd name="connsiteX56" fmla="*/ 2524234 w 2524234"/>
                    <a:gd name="connsiteY56" fmla="*/ 464691 h 1686702"/>
                    <a:gd name="connsiteX57" fmla="*/ 2524234 w 2524234"/>
                    <a:gd name="connsiteY57" fmla="*/ 364987 h 1686702"/>
                    <a:gd name="connsiteX58" fmla="*/ 2524234 w 2524234"/>
                    <a:gd name="connsiteY58" fmla="*/ 348218 h 1686702"/>
                    <a:gd name="connsiteX59" fmla="*/ 2524234 w 2524234"/>
                    <a:gd name="connsiteY59" fmla="*/ 285150 h 1686702"/>
                    <a:gd name="connsiteX60" fmla="*/ 2524234 w 2524234"/>
                    <a:gd name="connsiteY60" fmla="*/ 222972 h 1686702"/>
                    <a:gd name="connsiteX61" fmla="*/ 2524234 w 2524234"/>
                    <a:gd name="connsiteY61" fmla="*/ 219862 h 1686702"/>
                    <a:gd name="connsiteX62" fmla="*/ 2524234 w 2524234"/>
                    <a:gd name="connsiteY62" fmla="*/ 176247 h 1686702"/>
                    <a:gd name="connsiteX63" fmla="*/ 2524234 w 2524234"/>
                    <a:gd name="connsiteY63" fmla="*/ 96778 h 1686702"/>
                    <a:gd name="connsiteX64" fmla="*/ 2524234 w 2524234"/>
                    <a:gd name="connsiteY64" fmla="*/ 82953 h 1686702"/>
                    <a:gd name="connsiteX65" fmla="*/ 2427679 w 2524234"/>
                    <a:gd name="connsiteY65" fmla="*/ 0 h 1686702"/>
                    <a:gd name="connsiteX66" fmla="*/ 2423126 w 2524234"/>
                    <a:gd name="connsiteY66" fmla="*/ 0 h 1686702"/>
                    <a:gd name="connsiteX67" fmla="*/ 2412312 w 2524234"/>
                    <a:gd name="connsiteY67" fmla="*/ 0 h 1686702"/>
                    <a:gd name="connsiteX68" fmla="*/ 2391255 w 2524234"/>
                    <a:gd name="connsiteY68" fmla="*/ 0 h 1686702"/>
                    <a:gd name="connsiteX69" fmla="*/ 2356539 w 2524234"/>
                    <a:gd name="connsiteY69" fmla="*/ 0 h 1686702"/>
                    <a:gd name="connsiteX70" fmla="*/ 2330558 w 2524234"/>
                    <a:gd name="connsiteY70" fmla="*/ 0 h 1686702"/>
                    <a:gd name="connsiteX71" fmla="*/ 2304748 w 2524234"/>
                    <a:gd name="connsiteY71" fmla="*/ 0 h 1686702"/>
                    <a:gd name="connsiteX72" fmla="*/ 2245560 w 2524234"/>
                    <a:gd name="connsiteY72" fmla="*/ 0 h 1686702"/>
                    <a:gd name="connsiteX73" fmla="*/ 2232470 w 2524234"/>
                    <a:gd name="connsiteY73" fmla="*/ 0 h 1686702"/>
                    <a:gd name="connsiteX74" fmla="*/ 2171877 w 2524234"/>
                    <a:gd name="connsiteY74" fmla="*/ 0 h 1686702"/>
                    <a:gd name="connsiteX75" fmla="*/ 2136288 w 2524234"/>
                    <a:gd name="connsiteY75" fmla="*/ 0 h 1686702"/>
                    <a:gd name="connsiteX76" fmla="*/ 2108701 w 2524234"/>
                    <a:gd name="connsiteY76" fmla="*/ 0 h 1686702"/>
                    <a:gd name="connsiteX77" fmla="*/ 2012789 w 2524234"/>
                    <a:gd name="connsiteY77" fmla="*/ 0 h 1686702"/>
                    <a:gd name="connsiteX78" fmla="*/ 2010637 w 2524234"/>
                    <a:gd name="connsiteY78" fmla="*/ 0 h 1686702"/>
                    <a:gd name="connsiteX79" fmla="*/ 1875934 w 2524234"/>
                    <a:gd name="connsiteY79" fmla="*/ 0 h 1686702"/>
                    <a:gd name="connsiteX80" fmla="*/ 1858557 w 2524234"/>
                    <a:gd name="connsiteY80" fmla="*/ 0 h 1686702"/>
                    <a:gd name="connsiteX81" fmla="*/ 1670178 w 2524234"/>
                    <a:gd name="connsiteY81" fmla="*/ 0 h 1686702"/>
                    <a:gd name="connsiteX82" fmla="*/ 1444236 w 2524234"/>
                    <a:gd name="connsiteY82" fmla="*/ 0 h 1686702"/>
                    <a:gd name="connsiteX83" fmla="*/ 1177318 w 2524234"/>
                    <a:gd name="connsiteY83" fmla="*/ 0 h 1686702"/>
                    <a:gd name="connsiteX84" fmla="*/ 1027426 w 2524234"/>
                    <a:gd name="connsiteY84" fmla="*/ 0 h 1686702"/>
                    <a:gd name="connsiteX85" fmla="*/ 866008 w 2524234"/>
                    <a:gd name="connsiteY85" fmla="*/ 0 h 1686702"/>
                    <a:gd name="connsiteX86" fmla="*/ 692640 w 2524234"/>
                    <a:gd name="connsiteY86" fmla="*/ 0 h 1686702"/>
                    <a:gd name="connsiteX87" fmla="*/ 648301 w 2524234"/>
                    <a:gd name="connsiteY87" fmla="*/ 0 h 1686702"/>
                    <a:gd name="connsiteX88" fmla="*/ 551180 w 2524234"/>
                    <a:gd name="connsiteY88" fmla="*/ 0 h 1686702"/>
                    <a:gd name="connsiteX89" fmla="*/ 506892 w 2524234"/>
                    <a:gd name="connsiteY89" fmla="*/ 0 h 1686702"/>
                    <a:gd name="connsiteX90" fmla="*/ 466182 w 2524234"/>
                    <a:gd name="connsiteY90" fmla="*/ 0 h 1686702"/>
                    <a:gd name="connsiteX91" fmla="*/ 329323 w 2524234"/>
                    <a:gd name="connsiteY91" fmla="*/ 0 h 1686702"/>
                    <a:gd name="connsiteX92" fmla="*/ 308340 w 2524234"/>
                    <a:gd name="connsiteY92" fmla="*/ 0 h 1686702"/>
                    <a:gd name="connsiteX93" fmla="*/ 231259 w 2524234"/>
                    <a:gd name="connsiteY93" fmla="*/ 0 h 1686702"/>
                    <a:gd name="connsiteX94" fmla="*/ 96556 w 2524234"/>
                    <a:gd name="connsiteY94" fmla="*/ 0 h 1686702"/>
                    <a:gd name="connsiteX95" fmla="*/ 0 w 2524234"/>
                    <a:gd name="connsiteY95" fmla="*/ 82953 h 1686702"/>
                    <a:gd name="connsiteX96" fmla="*/ 0 w 2524234"/>
                    <a:gd name="connsiteY96" fmla="*/ 92886 h 1686702"/>
                    <a:gd name="connsiteX97" fmla="*/ 0 w 2524234"/>
                    <a:gd name="connsiteY97" fmla="*/ 96778 h 1686702"/>
                    <a:gd name="connsiteX98" fmla="*/ 0 w 2524234"/>
                    <a:gd name="connsiteY98" fmla="*/ 106499 h 1686702"/>
                    <a:gd name="connsiteX99" fmla="*/ 0 w 2524234"/>
                    <a:gd name="connsiteY99" fmla="*/ 128942 h 1686702"/>
                    <a:gd name="connsiteX100" fmla="*/ 0 w 2524234"/>
                    <a:gd name="connsiteY100" fmla="*/ 162422 h 1686702"/>
                    <a:gd name="connsiteX101" fmla="*/ 0 w 2524234"/>
                    <a:gd name="connsiteY101" fmla="*/ 209147 h 1686702"/>
                    <a:gd name="connsiteX102" fmla="*/ 0 w 2524234"/>
                    <a:gd name="connsiteY102" fmla="*/ 233688 h 1686702"/>
                    <a:gd name="connsiteX103" fmla="*/ 0 w 2524234"/>
                    <a:gd name="connsiteY103" fmla="*/ 271324 h 1686702"/>
                    <a:gd name="connsiteX104" fmla="*/ 0 w 2524234"/>
                    <a:gd name="connsiteY104" fmla="*/ 351161 h 1686702"/>
                    <a:gd name="connsiteX105" fmla="*/ 0 w 2524234"/>
                    <a:gd name="connsiteY105" fmla="*/ 362043 h 1686702"/>
                    <a:gd name="connsiteX106" fmla="*/ 0 w 2524234"/>
                    <a:gd name="connsiteY106" fmla="*/ 450866 h 1686702"/>
                    <a:gd name="connsiteX107" fmla="*/ 0 w 2524234"/>
                    <a:gd name="connsiteY107" fmla="*/ 482121 h 1686702"/>
                    <a:gd name="connsiteX108" fmla="*/ 0 w 2524234"/>
                    <a:gd name="connsiteY108" fmla="*/ 572645 h 1686702"/>
                    <a:gd name="connsiteX109" fmla="*/ 0 w 2524234"/>
                    <a:gd name="connsiteY109" fmla="*/ 594196 h 1686702"/>
                    <a:gd name="connsiteX110" fmla="*/ 0 w 2524234"/>
                    <a:gd name="connsiteY110" fmla="*/ 698546 h 1686702"/>
                    <a:gd name="connsiteX111" fmla="*/ 0 w 2524234"/>
                    <a:gd name="connsiteY111" fmla="*/ 718706 h 1686702"/>
                    <a:gd name="connsiteX112" fmla="*/ 0 w 2524234"/>
                    <a:gd name="connsiteY112" fmla="*/ 795445 h 1686702"/>
                    <a:gd name="connsiteX113" fmla="*/ 0 w 2524234"/>
                    <a:gd name="connsiteY113" fmla="*/ 891257 h 1686702"/>
                    <a:gd name="connsiteX114" fmla="*/ 0 w 2524234"/>
                    <a:gd name="connsiteY114" fmla="*/ 967996 h 1686702"/>
                    <a:gd name="connsiteX115" fmla="*/ 0 w 2524234"/>
                    <a:gd name="connsiteY115" fmla="*/ 988156 h 1686702"/>
                    <a:gd name="connsiteX116" fmla="*/ 0 w 2524234"/>
                    <a:gd name="connsiteY116" fmla="*/ 1092506 h 1686702"/>
                    <a:gd name="connsiteX117" fmla="*/ 0 w 2524234"/>
                    <a:gd name="connsiteY117" fmla="*/ 1114057 h 1686702"/>
                    <a:gd name="connsiteX118" fmla="*/ 0 w 2524234"/>
                    <a:gd name="connsiteY118" fmla="*/ 1204581 h 1686702"/>
                    <a:gd name="connsiteX119" fmla="*/ 0 w 2524234"/>
                    <a:gd name="connsiteY119" fmla="*/ 1235837 h 1686702"/>
                    <a:gd name="connsiteX120" fmla="*/ 0 w 2524234"/>
                    <a:gd name="connsiteY120" fmla="*/ 1324659 h 1686702"/>
                    <a:gd name="connsiteX121" fmla="*/ 0 w 2524234"/>
                    <a:gd name="connsiteY121" fmla="*/ 1335541 h 1686702"/>
                    <a:gd name="connsiteX122" fmla="*/ 0 w 2524234"/>
                    <a:gd name="connsiteY122" fmla="*/ 1415378 h 1686702"/>
                    <a:gd name="connsiteX123" fmla="*/ 0 w 2524234"/>
                    <a:gd name="connsiteY123" fmla="*/ 1453014 h 1686702"/>
                    <a:gd name="connsiteX124" fmla="*/ 0 w 2524234"/>
                    <a:gd name="connsiteY124" fmla="*/ 1477555 h 1686702"/>
                    <a:gd name="connsiteX125" fmla="*/ 0 w 2524234"/>
                    <a:gd name="connsiteY125" fmla="*/ 1580203 h 1686702"/>
                    <a:gd name="connsiteX126" fmla="*/ 0 w 2524234"/>
                    <a:gd name="connsiteY126" fmla="*/ 1589924 h 1686702"/>
                    <a:gd name="connsiteX127" fmla="*/ 0 w 2524234"/>
                    <a:gd name="connsiteY127" fmla="*/ 1593816 h 1686702"/>
                    <a:gd name="connsiteX128" fmla="*/ 0 w 2524234"/>
                    <a:gd name="connsiteY128" fmla="*/ 1603750 h 1686702"/>
                    <a:gd name="connsiteX129" fmla="*/ 96556 w 2524234"/>
                    <a:gd name="connsiteY129" fmla="*/ 1686702 h 16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</a:cxnLst>
                  <a:rect l="l" t="t" r="r" b="b"/>
                  <a:pathLst>
                    <a:path w="2524234" h="1686702">
                      <a:moveTo>
                        <a:pt x="96556" y="1686702"/>
                      </a:moveTo>
                      <a:lnTo>
                        <a:pt x="97633" y="1686702"/>
                      </a:lnTo>
                      <a:lnTo>
                        <a:pt x="105177" y="1686702"/>
                      </a:lnTo>
                      <a:lnTo>
                        <a:pt x="125652" y="1686702"/>
                      </a:lnTo>
                      <a:lnTo>
                        <a:pt x="165524" y="1686702"/>
                      </a:lnTo>
                      <a:lnTo>
                        <a:pt x="231259" y="1686702"/>
                      </a:lnTo>
                      <a:lnTo>
                        <a:pt x="308340" y="1686702"/>
                      </a:lnTo>
                      <a:lnTo>
                        <a:pt x="329323" y="1686702"/>
                      </a:lnTo>
                      <a:lnTo>
                        <a:pt x="392499" y="1686702"/>
                      </a:lnTo>
                      <a:lnTo>
                        <a:pt x="466182" y="1686702"/>
                      </a:lnTo>
                      <a:lnTo>
                        <a:pt x="506892" y="1686702"/>
                      </a:lnTo>
                      <a:lnTo>
                        <a:pt x="551180" y="1686702"/>
                      </a:lnTo>
                      <a:lnTo>
                        <a:pt x="648301" y="1686702"/>
                      </a:lnTo>
                      <a:lnTo>
                        <a:pt x="692640" y="1686702"/>
                      </a:lnTo>
                      <a:cubicBezTo>
                        <a:pt x="1231100" y="1686702"/>
                        <a:pt x="1602452" y="1686702"/>
                        <a:pt x="1858557" y="1686702"/>
                      </a:cubicBezTo>
                      <a:lnTo>
                        <a:pt x="1875934" y="1686702"/>
                      </a:lnTo>
                      <a:lnTo>
                        <a:pt x="1877011" y="1686702"/>
                      </a:lnTo>
                      <a:lnTo>
                        <a:pt x="1884555" y="1686702"/>
                      </a:lnTo>
                      <a:lnTo>
                        <a:pt x="1905030" y="1686702"/>
                      </a:lnTo>
                      <a:lnTo>
                        <a:pt x="1944902" y="1686702"/>
                      </a:lnTo>
                      <a:lnTo>
                        <a:pt x="2010637" y="1686702"/>
                      </a:lnTo>
                      <a:lnTo>
                        <a:pt x="2012789" y="1686702"/>
                      </a:lnTo>
                      <a:lnTo>
                        <a:pt x="2108701" y="1686702"/>
                      </a:lnTo>
                      <a:lnTo>
                        <a:pt x="2136288" y="1686702"/>
                      </a:lnTo>
                      <a:lnTo>
                        <a:pt x="2171877" y="1686702"/>
                      </a:lnTo>
                      <a:lnTo>
                        <a:pt x="2232470" y="1686702"/>
                      </a:lnTo>
                      <a:lnTo>
                        <a:pt x="2245560" y="1686702"/>
                      </a:lnTo>
                      <a:lnTo>
                        <a:pt x="2304748" y="1686702"/>
                      </a:lnTo>
                      <a:lnTo>
                        <a:pt x="2330558" y="1686702"/>
                      </a:lnTo>
                      <a:lnTo>
                        <a:pt x="2356539" y="1686702"/>
                      </a:lnTo>
                      <a:cubicBezTo>
                        <a:pt x="2427679" y="1686702"/>
                        <a:pt x="2427679" y="1686702"/>
                        <a:pt x="2427679" y="1686702"/>
                      </a:cubicBezTo>
                      <a:cubicBezTo>
                        <a:pt x="2482853" y="1686702"/>
                        <a:pt x="2524234" y="1645226"/>
                        <a:pt x="2524234" y="1603750"/>
                      </a:cubicBezTo>
                      <a:lnTo>
                        <a:pt x="2524234" y="1589924"/>
                      </a:lnTo>
                      <a:lnTo>
                        <a:pt x="2524234" y="1586981"/>
                      </a:lnTo>
                      <a:lnTo>
                        <a:pt x="2524234" y="1579990"/>
                      </a:lnTo>
                      <a:lnTo>
                        <a:pt x="2524234" y="1566378"/>
                      </a:lnTo>
                      <a:lnTo>
                        <a:pt x="2524234" y="1543935"/>
                      </a:lnTo>
                      <a:lnTo>
                        <a:pt x="2524234" y="1510455"/>
                      </a:lnTo>
                      <a:lnTo>
                        <a:pt x="2524234" y="1466840"/>
                      </a:lnTo>
                      <a:lnTo>
                        <a:pt x="2524234" y="1463730"/>
                      </a:lnTo>
                      <a:lnTo>
                        <a:pt x="2524234" y="1401553"/>
                      </a:lnTo>
                      <a:lnTo>
                        <a:pt x="2524234" y="1338484"/>
                      </a:lnTo>
                      <a:lnTo>
                        <a:pt x="2524234" y="1321715"/>
                      </a:lnTo>
                      <a:lnTo>
                        <a:pt x="2524234" y="1222011"/>
                      </a:lnTo>
                      <a:lnTo>
                        <a:pt x="2524234" y="1218407"/>
                      </a:lnTo>
                      <a:cubicBezTo>
                        <a:pt x="2524234" y="1179730"/>
                        <a:pt x="2524234" y="1142387"/>
                        <a:pt x="2524234" y="1106331"/>
                      </a:cubicBezTo>
                      <a:lnTo>
                        <a:pt x="2524234" y="1100232"/>
                      </a:lnTo>
                      <a:lnTo>
                        <a:pt x="2524234" y="1001982"/>
                      </a:lnTo>
                      <a:lnTo>
                        <a:pt x="2524234" y="954171"/>
                      </a:lnTo>
                      <a:lnTo>
                        <a:pt x="2524234" y="905083"/>
                      </a:lnTo>
                      <a:lnTo>
                        <a:pt x="2524234" y="781619"/>
                      </a:lnTo>
                      <a:lnTo>
                        <a:pt x="2524234" y="732532"/>
                      </a:lnTo>
                      <a:lnTo>
                        <a:pt x="2524234" y="684720"/>
                      </a:lnTo>
                      <a:lnTo>
                        <a:pt x="2524234" y="586470"/>
                      </a:lnTo>
                      <a:lnTo>
                        <a:pt x="2524234" y="580371"/>
                      </a:lnTo>
                      <a:lnTo>
                        <a:pt x="2524234" y="468295"/>
                      </a:lnTo>
                      <a:lnTo>
                        <a:pt x="2524234" y="464691"/>
                      </a:lnTo>
                      <a:cubicBezTo>
                        <a:pt x="2524234" y="427900"/>
                        <a:pt x="2524234" y="394788"/>
                        <a:pt x="2524234" y="364987"/>
                      </a:cubicBezTo>
                      <a:lnTo>
                        <a:pt x="2524234" y="348218"/>
                      </a:lnTo>
                      <a:lnTo>
                        <a:pt x="2524234" y="285150"/>
                      </a:lnTo>
                      <a:cubicBezTo>
                        <a:pt x="2524234" y="261603"/>
                        <a:pt x="2524234" y="241000"/>
                        <a:pt x="2524234" y="222972"/>
                      </a:cubicBezTo>
                      <a:lnTo>
                        <a:pt x="2524234" y="219862"/>
                      </a:lnTo>
                      <a:lnTo>
                        <a:pt x="2524234" y="176247"/>
                      </a:lnTo>
                      <a:cubicBezTo>
                        <a:pt x="2524234" y="96778"/>
                        <a:pt x="2524234" y="96778"/>
                        <a:pt x="2524234" y="96778"/>
                      </a:cubicBezTo>
                      <a:lnTo>
                        <a:pt x="2524234" y="82953"/>
                      </a:lnTo>
                      <a:cubicBezTo>
                        <a:pt x="2524234" y="41476"/>
                        <a:pt x="2482853" y="0"/>
                        <a:pt x="2427679" y="0"/>
                      </a:cubicBezTo>
                      <a:lnTo>
                        <a:pt x="2423126" y="0"/>
                      </a:lnTo>
                      <a:lnTo>
                        <a:pt x="2412312" y="0"/>
                      </a:lnTo>
                      <a:lnTo>
                        <a:pt x="2391255" y="0"/>
                      </a:lnTo>
                      <a:lnTo>
                        <a:pt x="2356539" y="0"/>
                      </a:lnTo>
                      <a:lnTo>
                        <a:pt x="2330558" y="0"/>
                      </a:lnTo>
                      <a:lnTo>
                        <a:pt x="2304748" y="0"/>
                      </a:lnTo>
                      <a:lnTo>
                        <a:pt x="2245560" y="0"/>
                      </a:lnTo>
                      <a:lnTo>
                        <a:pt x="2232470" y="0"/>
                      </a:lnTo>
                      <a:lnTo>
                        <a:pt x="2171877" y="0"/>
                      </a:lnTo>
                      <a:lnTo>
                        <a:pt x="2136288" y="0"/>
                      </a:lnTo>
                      <a:lnTo>
                        <a:pt x="2108701" y="0"/>
                      </a:lnTo>
                      <a:lnTo>
                        <a:pt x="2012789" y="0"/>
                      </a:lnTo>
                      <a:lnTo>
                        <a:pt x="2010637" y="0"/>
                      </a:lnTo>
                      <a:cubicBezTo>
                        <a:pt x="1875934" y="0"/>
                        <a:pt x="1875934" y="0"/>
                        <a:pt x="1875934" y="0"/>
                      </a:cubicBezTo>
                      <a:lnTo>
                        <a:pt x="1858557" y="0"/>
                      </a:lnTo>
                      <a:lnTo>
                        <a:pt x="1670178" y="0"/>
                      </a:lnTo>
                      <a:lnTo>
                        <a:pt x="1444236" y="0"/>
                      </a:lnTo>
                      <a:lnTo>
                        <a:pt x="1177318" y="0"/>
                      </a:lnTo>
                      <a:lnTo>
                        <a:pt x="1027426" y="0"/>
                      </a:lnTo>
                      <a:lnTo>
                        <a:pt x="866008" y="0"/>
                      </a:lnTo>
                      <a:lnTo>
                        <a:pt x="692640" y="0"/>
                      </a:lnTo>
                      <a:lnTo>
                        <a:pt x="648301" y="0"/>
                      </a:lnTo>
                      <a:cubicBezTo>
                        <a:pt x="613817" y="0"/>
                        <a:pt x="581488" y="0"/>
                        <a:pt x="551180" y="0"/>
                      </a:cubicBezTo>
                      <a:lnTo>
                        <a:pt x="506892" y="0"/>
                      </a:lnTo>
                      <a:lnTo>
                        <a:pt x="466182" y="0"/>
                      </a:lnTo>
                      <a:cubicBezTo>
                        <a:pt x="413378" y="0"/>
                        <a:pt x="368118" y="0"/>
                        <a:pt x="329323" y="0"/>
                      </a:cubicBezTo>
                      <a:lnTo>
                        <a:pt x="308340" y="0"/>
                      </a:lnTo>
                      <a:lnTo>
                        <a:pt x="231259" y="0"/>
                      </a:lnTo>
                      <a:cubicBezTo>
                        <a:pt x="96556" y="0"/>
                        <a:pt x="96556" y="0"/>
                        <a:pt x="96556" y="0"/>
                      </a:cubicBezTo>
                      <a:cubicBezTo>
                        <a:pt x="41381" y="0"/>
                        <a:pt x="0" y="41476"/>
                        <a:pt x="0" y="82953"/>
                      </a:cubicBezTo>
                      <a:cubicBezTo>
                        <a:pt x="0" y="82953"/>
                        <a:pt x="0" y="82953"/>
                        <a:pt x="0" y="92886"/>
                      </a:cubicBezTo>
                      <a:lnTo>
                        <a:pt x="0" y="96778"/>
                      </a:lnTo>
                      <a:lnTo>
                        <a:pt x="0" y="106499"/>
                      </a:lnTo>
                      <a:lnTo>
                        <a:pt x="0" y="128942"/>
                      </a:lnTo>
                      <a:lnTo>
                        <a:pt x="0" y="162422"/>
                      </a:lnTo>
                      <a:lnTo>
                        <a:pt x="0" y="209147"/>
                      </a:lnTo>
                      <a:lnTo>
                        <a:pt x="0" y="233688"/>
                      </a:lnTo>
                      <a:lnTo>
                        <a:pt x="0" y="271324"/>
                      </a:lnTo>
                      <a:lnTo>
                        <a:pt x="0" y="351161"/>
                      </a:lnTo>
                      <a:lnTo>
                        <a:pt x="0" y="362043"/>
                      </a:lnTo>
                      <a:lnTo>
                        <a:pt x="0" y="450866"/>
                      </a:lnTo>
                      <a:lnTo>
                        <a:pt x="0" y="482121"/>
                      </a:lnTo>
                      <a:lnTo>
                        <a:pt x="0" y="572645"/>
                      </a:lnTo>
                      <a:lnTo>
                        <a:pt x="0" y="594196"/>
                      </a:lnTo>
                      <a:cubicBezTo>
                        <a:pt x="0" y="630252"/>
                        <a:pt x="0" y="665020"/>
                        <a:pt x="0" y="698546"/>
                      </a:cubicBezTo>
                      <a:lnTo>
                        <a:pt x="0" y="718706"/>
                      </a:lnTo>
                      <a:lnTo>
                        <a:pt x="0" y="795445"/>
                      </a:lnTo>
                      <a:lnTo>
                        <a:pt x="0" y="891257"/>
                      </a:lnTo>
                      <a:lnTo>
                        <a:pt x="0" y="967996"/>
                      </a:lnTo>
                      <a:lnTo>
                        <a:pt x="0" y="988156"/>
                      </a:lnTo>
                      <a:lnTo>
                        <a:pt x="0" y="1092506"/>
                      </a:lnTo>
                      <a:lnTo>
                        <a:pt x="0" y="1114057"/>
                      </a:lnTo>
                      <a:lnTo>
                        <a:pt x="0" y="1204581"/>
                      </a:lnTo>
                      <a:lnTo>
                        <a:pt x="0" y="1235837"/>
                      </a:lnTo>
                      <a:lnTo>
                        <a:pt x="0" y="1324659"/>
                      </a:lnTo>
                      <a:lnTo>
                        <a:pt x="0" y="1335541"/>
                      </a:lnTo>
                      <a:cubicBezTo>
                        <a:pt x="0" y="1365342"/>
                        <a:pt x="0" y="1391832"/>
                        <a:pt x="0" y="1415378"/>
                      </a:cubicBezTo>
                      <a:lnTo>
                        <a:pt x="0" y="1453014"/>
                      </a:lnTo>
                      <a:lnTo>
                        <a:pt x="0" y="1477555"/>
                      </a:lnTo>
                      <a:cubicBezTo>
                        <a:pt x="0" y="1531639"/>
                        <a:pt x="0" y="1562543"/>
                        <a:pt x="0" y="1580203"/>
                      </a:cubicBezTo>
                      <a:lnTo>
                        <a:pt x="0" y="1589924"/>
                      </a:lnTo>
                      <a:lnTo>
                        <a:pt x="0" y="1593816"/>
                      </a:lnTo>
                      <a:cubicBezTo>
                        <a:pt x="0" y="1603750"/>
                        <a:pt x="0" y="1603750"/>
                        <a:pt x="0" y="1603750"/>
                      </a:cubicBezTo>
                      <a:cubicBezTo>
                        <a:pt x="0" y="1645226"/>
                        <a:pt x="41381" y="1686702"/>
                        <a:pt x="96556" y="1686702"/>
                      </a:cubicBezTo>
                      <a:close/>
                    </a:path>
                  </a:pathLst>
                </a:custGeom>
                <a:noFill/>
                <a:ln w="9525" cap="flat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GB" dirty="0"/>
                </a:p>
              </p:txBody>
            </p:sp>
          </p:grpSp>
        </p:grpSp>
        <p:sp>
          <p:nvSpPr>
            <p:cNvPr id="93" name="Textplatzhalter 2">
              <a:extLst>
                <a:ext uri="{FF2B5EF4-FFF2-40B4-BE49-F238E27FC236}">
                  <a16:creationId xmlns:a16="http://schemas.microsoft.com/office/drawing/2014/main" id="{07EEAF2D-FD0D-1B75-994E-9A8E0F3C3F25}"/>
                </a:ext>
              </a:extLst>
            </p:cNvPr>
            <p:cNvSpPr txBox="1">
              <a:spLocks/>
            </p:cNvSpPr>
            <p:nvPr/>
          </p:nvSpPr>
          <p:spPr>
            <a:xfrm>
              <a:off x="4245033" y="4214451"/>
              <a:ext cx="1426673" cy="415498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44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Wingdings" pitchFamily="2" charset="2"/>
                <a:buChar char="§"/>
                <a:tabLst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88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2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76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44000" algn="l" defTabSz="987128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3846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08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500" dirty="0">
                  <a:solidFill>
                    <a:schemeClr val="accent6"/>
                  </a:solidFill>
                </a:rPr>
                <a:t>audio and image</a:t>
              </a:r>
              <a:br>
                <a:rPr lang="en-GB" sz="1200" dirty="0">
                  <a:solidFill>
                    <a:schemeClr val="tx1"/>
                  </a:solidFill>
                </a:rPr>
              </a:br>
              <a:r>
                <a:rPr lang="en-GB" sz="1200" dirty="0">
                  <a:solidFill>
                    <a:schemeClr val="tx1"/>
                  </a:solidFill>
                </a:rPr>
                <a:t>invigilation</a:t>
              </a:r>
            </a:p>
          </p:txBody>
        </p:sp>
      </p:grpSp>
      <p:grpSp>
        <p:nvGrpSpPr>
          <p:cNvPr id="349" name="Gruppieren 348">
            <a:extLst>
              <a:ext uri="{FF2B5EF4-FFF2-40B4-BE49-F238E27FC236}">
                <a16:creationId xmlns:a16="http://schemas.microsoft.com/office/drawing/2014/main" id="{7D53AE15-F6ED-D2EC-67DC-1908FE0EFB24}"/>
              </a:ext>
            </a:extLst>
          </p:cNvPr>
          <p:cNvGrpSpPr/>
          <p:nvPr/>
        </p:nvGrpSpPr>
        <p:grpSpPr>
          <a:xfrm>
            <a:off x="6727288" y="3654987"/>
            <a:ext cx="1609415" cy="974962"/>
            <a:chOff x="6727288" y="3654987"/>
            <a:chExt cx="1609415" cy="974962"/>
          </a:xfrm>
        </p:grpSpPr>
        <p:grpSp>
          <p:nvGrpSpPr>
            <p:cNvPr id="340" name="Gruppieren 339">
              <a:extLst>
                <a:ext uri="{FF2B5EF4-FFF2-40B4-BE49-F238E27FC236}">
                  <a16:creationId xmlns:a16="http://schemas.microsoft.com/office/drawing/2014/main" id="{FBB46578-463C-15DB-C297-4D3507DC768A}"/>
                </a:ext>
              </a:extLst>
            </p:cNvPr>
            <p:cNvGrpSpPr/>
            <p:nvPr/>
          </p:nvGrpSpPr>
          <p:grpSpPr>
            <a:xfrm>
              <a:off x="7204001" y="3654987"/>
              <a:ext cx="655988" cy="655989"/>
              <a:chOff x="7197315" y="3661026"/>
              <a:chExt cx="655988" cy="655989"/>
            </a:xfrm>
          </p:grpSpPr>
          <p:sp>
            <p:nvSpPr>
              <p:cNvPr id="103" name="Ellipse 306">
                <a:extLst>
                  <a:ext uri="{FF2B5EF4-FFF2-40B4-BE49-F238E27FC236}">
                    <a16:creationId xmlns:a16="http://schemas.microsoft.com/office/drawing/2014/main" id="{2A68ECF0-71A5-069C-A2C3-FD907C4DD91E}"/>
                  </a:ext>
                </a:extLst>
              </p:cNvPr>
              <p:cNvSpPr/>
              <p:nvPr/>
            </p:nvSpPr>
            <p:spPr>
              <a:xfrm>
                <a:off x="7197315" y="3661026"/>
                <a:ext cx="655988" cy="65598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endParaRPr lang="en-GB" sz="1800" dirty="0">
                  <a:solidFill>
                    <a:schemeClr val="tx1"/>
                  </a:solidFill>
                  <a:latin typeface="Arial"/>
                </a:endParaRPr>
              </a:p>
            </p:txBody>
          </p:sp>
          <p:grpSp>
            <p:nvGrpSpPr>
              <p:cNvPr id="329" name="Gruppieren 328">
                <a:extLst>
                  <a:ext uri="{FF2B5EF4-FFF2-40B4-BE49-F238E27FC236}">
                    <a16:creationId xmlns:a16="http://schemas.microsoft.com/office/drawing/2014/main" id="{F3B69136-11D5-CF84-1A4D-B98CE25B99FC}"/>
                  </a:ext>
                </a:extLst>
              </p:cNvPr>
              <p:cNvGrpSpPr/>
              <p:nvPr/>
            </p:nvGrpSpPr>
            <p:grpSpPr>
              <a:xfrm>
                <a:off x="7321375" y="3803411"/>
                <a:ext cx="407868" cy="371218"/>
                <a:chOff x="4581338" y="1219152"/>
                <a:chExt cx="831145" cy="756460"/>
              </a:xfrm>
              <a:noFill/>
            </p:grpSpPr>
            <p:sp>
              <p:nvSpPr>
                <p:cNvPr id="330" name="Freeform 459">
                  <a:extLst>
                    <a:ext uri="{FF2B5EF4-FFF2-40B4-BE49-F238E27FC236}">
                      <a16:creationId xmlns:a16="http://schemas.microsoft.com/office/drawing/2014/main" id="{F7B5D3CD-1CA2-2D78-6409-B3901ED603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90237" y="1219152"/>
                  <a:ext cx="622246" cy="417323"/>
                </a:xfrm>
                <a:custGeom>
                  <a:avLst/>
                  <a:gdLst>
                    <a:gd name="T0" fmla="*/ 304 w 465"/>
                    <a:gd name="T1" fmla="*/ 0 h 340"/>
                    <a:gd name="T2" fmla="*/ 204 w 465"/>
                    <a:gd name="T3" fmla="*/ 0 h 340"/>
                    <a:gd name="T4" fmla="*/ 324 w 465"/>
                    <a:gd name="T5" fmla="*/ 130 h 340"/>
                    <a:gd name="T6" fmla="*/ 0 w 465"/>
                    <a:gd name="T7" fmla="*/ 130 h 340"/>
                    <a:gd name="T8" fmla="*/ 0 w 465"/>
                    <a:gd name="T9" fmla="*/ 208 h 340"/>
                    <a:gd name="T10" fmla="*/ 324 w 465"/>
                    <a:gd name="T11" fmla="*/ 208 h 340"/>
                    <a:gd name="T12" fmla="*/ 204 w 465"/>
                    <a:gd name="T13" fmla="*/ 340 h 340"/>
                    <a:gd name="T14" fmla="*/ 304 w 465"/>
                    <a:gd name="T15" fmla="*/ 340 h 340"/>
                    <a:gd name="T16" fmla="*/ 465 w 465"/>
                    <a:gd name="T17" fmla="*/ 170 h 340"/>
                    <a:gd name="T18" fmla="*/ 304 w 465"/>
                    <a:gd name="T19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5" h="340">
                      <a:moveTo>
                        <a:pt x="304" y="0"/>
                      </a:moveTo>
                      <a:lnTo>
                        <a:pt x="204" y="0"/>
                      </a:lnTo>
                      <a:lnTo>
                        <a:pt x="324" y="130"/>
                      </a:lnTo>
                      <a:lnTo>
                        <a:pt x="0" y="130"/>
                      </a:lnTo>
                      <a:lnTo>
                        <a:pt x="0" y="208"/>
                      </a:lnTo>
                      <a:lnTo>
                        <a:pt x="324" y="208"/>
                      </a:lnTo>
                      <a:lnTo>
                        <a:pt x="204" y="340"/>
                      </a:lnTo>
                      <a:lnTo>
                        <a:pt x="304" y="340"/>
                      </a:lnTo>
                      <a:lnTo>
                        <a:pt x="465" y="170"/>
                      </a:lnTo>
                      <a:lnTo>
                        <a:pt x="304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331" name="Freeform 459">
                  <a:extLst>
                    <a:ext uri="{FF2B5EF4-FFF2-40B4-BE49-F238E27FC236}">
                      <a16:creationId xmlns:a16="http://schemas.microsoft.com/office/drawing/2014/main" id="{C9294E79-408A-1B74-34F8-780EF376B4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4581338" y="1558289"/>
                  <a:ext cx="622246" cy="417323"/>
                </a:xfrm>
                <a:custGeom>
                  <a:avLst/>
                  <a:gdLst>
                    <a:gd name="T0" fmla="*/ 304 w 465"/>
                    <a:gd name="T1" fmla="*/ 0 h 340"/>
                    <a:gd name="T2" fmla="*/ 204 w 465"/>
                    <a:gd name="T3" fmla="*/ 0 h 340"/>
                    <a:gd name="T4" fmla="*/ 324 w 465"/>
                    <a:gd name="T5" fmla="*/ 130 h 340"/>
                    <a:gd name="T6" fmla="*/ 0 w 465"/>
                    <a:gd name="T7" fmla="*/ 130 h 340"/>
                    <a:gd name="T8" fmla="*/ 0 w 465"/>
                    <a:gd name="T9" fmla="*/ 208 h 340"/>
                    <a:gd name="T10" fmla="*/ 324 w 465"/>
                    <a:gd name="T11" fmla="*/ 208 h 340"/>
                    <a:gd name="T12" fmla="*/ 204 w 465"/>
                    <a:gd name="T13" fmla="*/ 340 h 340"/>
                    <a:gd name="T14" fmla="*/ 304 w 465"/>
                    <a:gd name="T15" fmla="*/ 340 h 340"/>
                    <a:gd name="T16" fmla="*/ 465 w 465"/>
                    <a:gd name="T17" fmla="*/ 170 h 340"/>
                    <a:gd name="T18" fmla="*/ 304 w 465"/>
                    <a:gd name="T19" fmla="*/ 0 h 3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65" h="340">
                      <a:moveTo>
                        <a:pt x="304" y="0"/>
                      </a:moveTo>
                      <a:lnTo>
                        <a:pt x="204" y="0"/>
                      </a:lnTo>
                      <a:lnTo>
                        <a:pt x="324" y="130"/>
                      </a:lnTo>
                      <a:lnTo>
                        <a:pt x="0" y="130"/>
                      </a:lnTo>
                      <a:lnTo>
                        <a:pt x="0" y="208"/>
                      </a:lnTo>
                      <a:lnTo>
                        <a:pt x="324" y="208"/>
                      </a:lnTo>
                      <a:lnTo>
                        <a:pt x="204" y="340"/>
                      </a:lnTo>
                      <a:lnTo>
                        <a:pt x="304" y="340"/>
                      </a:lnTo>
                      <a:lnTo>
                        <a:pt x="465" y="170"/>
                      </a:lnTo>
                      <a:lnTo>
                        <a:pt x="304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 cap="rnd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</p:grpSp>
        <p:sp>
          <p:nvSpPr>
            <p:cNvPr id="102" name="Textplatzhalter 2">
              <a:extLst>
                <a:ext uri="{FF2B5EF4-FFF2-40B4-BE49-F238E27FC236}">
                  <a16:creationId xmlns:a16="http://schemas.microsoft.com/office/drawing/2014/main" id="{FA9987BE-1749-CEA0-96FC-5CD0DD99ED65}"/>
                </a:ext>
              </a:extLst>
            </p:cNvPr>
            <p:cNvSpPr txBox="1">
              <a:spLocks/>
            </p:cNvSpPr>
            <p:nvPr/>
          </p:nvSpPr>
          <p:spPr>
            <a:xfrm>
              <a:off x="6727288" y="4214451"/>
              <a:ext cx="1609415" cy="415498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44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Wingdings" pitchFamily="2" charset="2"/>
                <a:buChar char="§"/>
                <a:tabLst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88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2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76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44000" algn="l" defTabSz="987128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3846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08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500" dirty="0">
                  <a:solidFill>
                    <a:schemeClr val="accent6"/>
                  </a:solidFill>
                </a:rPr>
                <a:t>bidirectional</a:t>
              </a:r>
              <a:br>
                <a:rPr lang="en-GB" sz="1600" dirty="0">
                  <a:solidFill>
                    <a:schemeClr val="tx1"/>
                  </a:solidFill>
                </a:rPr>
              </a:br>
              <a:r>
                <a:rPr lang="en-GB" sz="1200" dirty="0">
                  <a:solidFill>
                    <a:schemeClr val="tx1"/>
                  </a:solidFill>
                </a:rPr>
                <a:t>communication channel</a:t>
              </a:r>
            </a:p>
          </p:txBody>
        </p:sp>
      </p:grpSp>
      <p:grpSp>
        <p:nvGrpSpPr>
          <p:cNvPr id="344" name="Gruppieren 343">
            <a:extLst>
              <a:ext uri="{FF2B5EF4-FFF2-40B4-BE49-F238E27FC236}">
                <a16:creationId xmlns:a16="http://schemas.microsoft.com/office/drawing/2014/main" id="{332493FB-CF78-7011-9025-1CCD17212D95}"/>
              </a:ext>
            </a:extLst>
          </p:cNvPr>
          <p:cNvGrpSpPr/>
          <p:nvPr/>
        </p:nvGrpSpPr>
        <p:grpSpPr>
          <a:xfrm>
            <a:off x="6099342" y="2503297"/>
            <a:ext cx="1767348" cy="1057645"/>
            <a:chOff x="6099342" y="2503297"/>
            <a:chExt cx="1767348" cy="1057645"/>
          </a:xfrm>
        </p:grpSpPr>
        <p:grpSp>
          <p:nvGrpSpPr>
            <p:cNvPr id="335" name="Gruppieren 334">
              <a:extLst>
                <a:ext uri="{FF2B5EF4-FFF2-40B4-BE49-F238E27FC236}">
                  <a16:creationId xmlns:a16="http://schemas.microsoft.com/office/drawing/2014/main" id="{89D12C0B-E6B7-A122-9310-72415BAA845C}"/>
                </a:ext>
              </a:extLst>
            </p:cNvPr>
            <p:cNvGrpSpPr/>
            <p:nvPr/>
          </p:nvGrpSpPr>
          <p:grpSpPr>
            <a:xfrm>
              <a:off x="6655022" y="2503297"/>
              <a:ext cx="655988" cy="655988"/>
              <a:chOff x="6655022" y="2544765"/>
              <a:chExt cx="655988" cy="655988"/>
            </a:xfrm>
          </p:grpSpPr>
          <p:sp>
            <p:nvSpPr>
              <p:cNvPr id="113" name="Ellipse 309">
                <a:extLst>
                  <a:ext uri="{FF2B5EF4-FFF2-40B4-BE49-F238E27FC236}">
                    <a16:creationId xmlns:a16="http://schemas.microsoft.com/office/drawing/2014/main" id="{E7A5BE2A-2B53-C354-D244-5CA19084B1F8}"/>
                  </a:ext>
                </a:extLst>
              </p:cNvPr>
              <p:cNvSpPr/>
              <p:nvPr/>
            </p:nvSpPr>
            <p:spPr>
              <a:xfrm>
                <a:off x="6655022" y="2544765"/>
                <a:ext cx="655988" cy="6559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endParaRPr lang="en-GB" sz="1800" dirty="0">
                  <a:solidFill>
                    <a:schemeClr val="tx1"/>
                  </a:solidFill>
                  <a:latin typeface="Arial"/>
                </a:endParaRPr>
              </a:p>
            </p:txBody>
          </p:sp>
          <p:grpSp>
            <p:nvGrpSpPr>
              <p:cNvPr id="309" name="Gruppieren 308">
                <a:extLst>
                  <a:ext uri="{FF2B5EF4-FFF2-40B4-BE49-F238E27FC236}">
                    <a16:creationId xmlns:a16="http://schemas.microsoft.com/office/drawing/2014/main" id="{6B027726-5BB5-3C9F-67E9-A64558B1121B}"/>
                  </a:ext>
                </a:extLst>
              </p:cNvPr>
              <p:cNvGrpSpPr/>
              <p:nvPr/>
            </p:nvGrpSpPr>
            <p:grpSpPr>
              <a:xfrm>
                <a:off x="6758146" y="2668314"/>
                <a:ext cx="449740" cy="408890"/>
                <a:chOff x="6768139" y="2664468"/>
                <a:chExt cx="449740" cy="408890"/>
              </a:xfrm>
            </p:grpSpPr>
            <p:grpSp>
              <p:nvGrpSpPr>
                <p:cNvPr id="287" name="Group 55">
                  <a:extLst>
                    <a:ext uri="{FF2B5EF4-FFF2-40B4-BE49-F238E27FC236}">
                      <a16:creationId xmlns:a16="http://schemas.microsoft.com/office/drawing/2014/main" id="{9E0DAA84-5F0A-291D-2C2B-A75DA5DBE1D9}"/>
                    </a:ext>
                  </a:extLst>
                </p:cNvPr>
                <p:cNvGrpSpPr/>
                <p:nvPr/>
              </p:nvGrpSpPr>
              <p:grpSpPr>
                <a:xfrm>
                  <a:off x="6965879" y="2664468"/>
                  <a:ext cx="252000" cy="252000"/>
                  <a:chOff x="4138149" y="4148992"/>
                  <a:chExt cx="793847" cy="793792"/>
                </a:xfrm>
                <a:solidFill>
                  <a:schemeClr val="accent3"/>
                </a:solidFill>
              </p:grpSpPr>
              <p:sp>
                <p:nvSpPr>
                  <p:cNvPr id="288" name="Oval 56">
                    <a:extLst>
                      <a:ext uri="{FF2B5EF4-FFF2-40B4-BE49-F238E27FC236}">
                        <a16:creationId xmlns:a16="http://schemas.microsoft.com/office/drawing/2014/main" id="{93412EBA-060F-3729-640D-73B55F000E31}"/>
                      </a:ext>
                    </a:extLst>
                  </p:cNvPr>
                  <p:cNvSpPr/>
                  <p:nvPr/>
                </p:nvSpPr>
                <p:spPr>
                  <a:xfrm>
                    <a:off x="4139952" y="4149080"/>
                    <a:ext cx="792000" cy="7920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6350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914378">
                      <a:defRPr/>
                    </a:pPr>
                    <a:endParaRPr lang="en-GB" sz="760" kern="0" dirty="0">
                      <a:latin typeface="Arial"/>
                    </a:endParaRPr>
                  </a:p>
                </p:txBody>
              </p:sp>
              <p:grpSp>
                <p:nvGrpSpPr>
                  <p:cNvPr id="289" name="Group 57">
                    <a:extLst>
                      <a:ext uri="{FF2B5EF4-FFF2-40B4-BE49-F238E27FC236}">
                        <a16:creationId xmlns:a16="http://schemas.microsoft.com/office/drawing/2014/main" id="{FF8D5843-333A-7CE6-652D-A09F6450EFF7}"/>
                      </a:ext>
                    </a:extLst>
                  </p:cNvPr>
                  <p:cNvGrpSpPr/>
                  <p:nvPr/>
                </p:nvGrpSpPr>
                <p:grpSpPr>
                  <a:xfrm>
                    <a:off x="4535952" y="4149080"/>
                    <a:ext cx="0" cy="792088"/>
                    <a:chOff x="4535952" y="4149080"/>
                    <a:chExt cx="0" cy="792088"/>
                  </a:xfrm>
                  <a:grpFill/>
                </p:grpSpPr>
                <p:cxnSp>
                  <p:nvCxnSpPr>
                    <p:cNvPr id="307" name="Straight Connector 75">
                      <a:extLst>
                        <a:ext uri="{FF2B5EF4-FFF2-40B4-BE49-F238E27FC236}">
                          <a16:creationId xmlns:a16="http://schemas.microsoft.com/office/drawing/2014/main" id="{AFF12B2D-532E-EE06-14EC-CA8332FE111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535952" y="4149080"/>
                      <a:ext cx="0" cy="72008"/>
                    </a:xfrm>
                    <a:prstGeom prst="line">
                      <a:avLst/>
                    </a:prstGeom>
                    <a:grpFill/>
                    <a:ln w="6350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08" name="Straight Connector 76">
                      <a:extLst>
                        <a:ext uri="{FF2B5EF4-FFF2-40B4-BE49-F238E27FC236}">
                          <a16:creationId xmlns:a16="http://schemas.microsoft.com/office/drawing/2014/main" id="{9DC16F9E-3B7B-C007-AF16-9146C38840DB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535952" y="4869160"/>
                      <a:ext cx="0" cy="72008"/>
                    </a:xfrm>
                    <a:prstGeom prst="line">
                      <a:avLst/>
                    </a:prstGeom>
                    <a:grpFill/>
                    <a:ln w="6350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</p:cxnSp>
              </p:grpSp>
              <p:cxnSp>
                <p:nvCxnSpPr>
                  <p:cNvPr id="290" name="Straight Connector 58">
                    <a:extLst>
                      <a:ext uri="{FF2B5EF4-FFF2-40B4-BE49-F238E27FC236}">
                        <a16:creationId xmlns:a16="http://schemas.microsoft.com/office/drawing/2014/main" id="{1F0B92D3-D28F-DEA0-1224-C02225257D56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4859944" y="4545080"/>
                    <a:ext cx="72008" cy="0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91" name="Straight Connector 59">
                    <a:extLst>
                      <a:ext uri="{FF2B5EF4-FFF2-40B4-BE49-F238E27FC236}">
                        <a16:creationId xmlns:a16="http://schemas.microsoft.com/office/drawing/2014/main" id="{66B3ED14-BD73-B18A-5134-61756AAA7C48}"/>
                      </a:ext>
                    </a:extLst>
                  </p:cNvPr>
                  <p:cNvCxnSpPr/>
                  <p:nvPr/>
                </p:nvCxnSpPr>
                <p:spPr>
                  <a:xfrm flipH="1">
                    <a:off x="4139952" y="4545080"/>
                    <a:ext cx="72008" cy="0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</p:cxnSp>
              <p:grpSp>
                <p:nvGrpSpPr>
                  <p:cNvPr id="292" name="Group 60">
                    <a:extLst>
                      <a:ext uri="{FF2B5EF4-FFF2-40B4-BE49-F238E27FC236}">
                        <a16:creationId xmlns:a16="http://schemas.microsoft.com/office/drawing/2014/main" id="{B5FD6B91-DF41-EACD-9D19-49F8B43600B4}"/>
                      </a:ext>
                    </a:extLst>
                  </p:cNvPr>
                  <p:cNvGrpSpPr/>
                  <p:nvPr/>
                </p:nvGrpSpPr>
                <p:grpSpPr>
                  <a:xfrm rot="-3600000">
                    <a:off x="4535952" y="4148992"/>
                    <a:ext cx="0" cy="792088"/>
                    <a:chOff x="4535952" y="4149080"/>
                    <a:chExt cx="0" cy="792088"/>
                  </a:xfrm>
                  <a:grpFill/>
                </p:grpSpPr>
                <p:cxnSp>
                  <p:nvCxnSpPr>
                    <p:cNvPr id="305" name="Straight Connector 73">
                      <a:extLst>
                        <a:ext uri="{FF2B5EF4-FFF2-40B4-BE49-F238E27FC236}">
                          <a16:creationId xmlns:a16="http://schemas.microsoft.com/office/drawing/2014/main" id="{6F13BB52-EEEE-4517-27AA-94951A1E637A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535952" y="4149080"/>
                      <a:ext cx="0" cy="72008"/>
                    </a:xfrm>
                    <a:prstGeom prst="line">
                      <a:avLst/>
                    </a:prstGeom>
                    <a:grpFill/>
                    <a:ln w="6350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06" name="Straight Connector 74">
                      <a:extLst>
                        <a:ext uri="{FF2B5EF4-FFF2-40B4-BE49-F238E27FC236}">
                          <a16:creationId xmlns:a16="http://schemas.microsoft.com/office/drawing/2014/main" id="{C6892B9D-2A3E-DA99-1D73-D0E7ABA9C839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535952" y="4869160"/>
                      <a:ext cx="0" cy="72008"/>
                    </a:xfrm>
                    <a:prstGeom prst="line">
                      <a:avLst/>
                    </a:prstGeom>
                    <a:grpFill/>
                    <a:ln w="6350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</p:cxnSp>
              </p:grpSp>
              <p:sp>
                <p:nvSpPr>
                  <p:cNvPr id="293" name="Oval 61">
                    <a:extLst>
                      <a:ext uri="{FF2B5EF4-FFF2-40B4-BE49-F238E27FC236}">
                        <a16:creationId xmlns:a16="http://schemas.microsoft.com/office/drawing/2014/main" id="{539F4342-252C-45D5-F31E-8C7590EF9682}"/>
                      </a:ext>
                    </a:extLst>
                  </p:cNvPr>
                  <p:cNvSpPr/>
                  <p:nvPr/>
                </p:nvSpPr>
                <p:spPr>
                  <a:xfrm>
                    <a:off x="4513092" y="4522220"/>
                    <a:ext cx="45719" cy="45719"/>
                  </a:xfrm>
                  <a:prstGeom prst="ellipse">
                    <a:avLst/>
                  </a:prstGeom>
                  <a:solidFill>
                    <a:schemeClr val="bg1"/>
                  </a:solidFill>
                  <a:ln w="6350" cap="flat" cmpd="sng" algn="ctr">
                    <a:solidFill>
                      <a:schemeClr val="accent6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914378">
                      <a:defRPr/>
                    </a:pPr>
                    <a:endParaRPr lang="en-GB" sz="760" kern="0" dirty="0">
                      <a:latin typeface="Arial"/>
                    </a:endParaRPr>
                  </a:p>
                </p:txBody>
              </p:sp>
              <p:grpSp>
                <p:nvGrpSpPr>
                  <p:cNvPr id="294" name="Group 62">
                    <a:extLst>
                      <a:ext uri="{FF2B5EF4-FFF2-40B4-BE49-F238E27FC236}">
                        <a16:creationId xmlns:a16="http://schemas.microsoft.com/office/drawing/2014/main" id="{9EB522A3-F908-ABC7-DB53-B4380C9B6063}"/>
                      </a:ext>
                    </a:extLst>
                  </p:cNvPr>
                  <p:cNvGrpSpPr/>
                  <p:nvPr/>
                </p:nvGrpSpPr>
                <p:grpSpPr>
                  <a:xfrm rot="-1800000">
                    <a:off x="4535951" y="4148992"/>
                    <a:ext cx="0" cy="792088"/>
                    <a:chOff x="4535952" y="4149080"/>
                    <a:chExt cx="0" cy="792088"/>
                  </a:xfrm>
                  <a:grpFill/>
                </p:grpSpPr>
                <p:cxnSp>
                  <p:nvCxnSpPr>
                    <p:cNvPr id="303" name="Straight Connector 71">
                      <a:extLst>
                        <a:ext uri="{FF2B5EF4-FFF2-40B4-BE49-F238E27FC236}">
                          <a16:creationId xmlns:a16="http://schemas.microsoft.com/office/drawing/2014/main" id="{A5DD15C3-353C-1B31-980F-5E598DD8BB00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535952" y="4149080"/>
                      <a:ext cx="0" cy="72008"/>
                    </a:xfrm>
                    <a:prstGeom prst="line">
                      <a:avLst/>
                    </a:prstGeom>
                    <a:grpFill/>
                    <a:ln w="6350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04" name="Straight Connector 72">
                      <a:extLst>
                        <a:ext uri="{FF2B5EF4-FFF2-40B4-BE49-F238E27FC236}">
                          <a16:creationId xmlns:a16="http://schemas.microsoft.com/office/drawing/2014/main" id="{B09A1A8A-6B57-1A22-DF6D-F4DFBE25A36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535952" y="4869160"/>
                      <a:ext cx="0" cy="72008"/>
                    </a:xfrm>
                    <a:prstGeom prst="line">
                      <a:avLst/>
                    </a:prstGeom>
                    <a:grpFill/>
                    <a:ln w="6350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95" name="Group 63">
                    <a:extLst>
                      <a:ext uri="{FF2B5EF4-FFF2-40B4-BE49-F238E27FC236}">
                        <a16:creationId xmlns:a16="http://schemas.microsoft.com/office/drawing/2014/main" id="{3333D79E-BA15-AB64-FDFC-0CCDC49022B4}"/>
                      </a:ext>
                    </a:extLst>
                  </p:cNvPr>
                  <p:cNvGrpSpPr/>
                  <p:nvPr/>
                </p:nvGrpSpPr>
                <p:grpSpPr>
                  <a:xfrm rot="3600000">
                    <a:off x="4534193" y="4148992"/>
                    <a:ext cx="0" cy="792088"/>
                    <a:chOff x="4535952" y="4149080"/>
                    <a:chExt cx="0" cy="792088"/>
                  </a:xfrm>
                  <a:grpFill/>
                </p:grpSpPr>
                <p:cxnSp>
                  <p:nvCxnSpPr>
                    <p:cNvPr id="301" name="Straight Connector 69">
                      <a:extLst>
                        <a:ext uri="{FF2B5EF4-FFF2-40B4-BE49-F238E27FC236}">
                          <a16:creationId xmlns:a16="http://schemas.microsoft.com/office/drawing/2014/main" id="{DEDBC3B4-129E-EFAF-D1BD-8470236BCC3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535952" y="4149080"/>
                      <a:ext cx="0" cy="72008"/>
                    </a:xfrm>
                    <a:prstGeom prst="line">
                      <a:avLst/>
                    </a:prstGeom>
                    <a:grpFill/>
                    <a:ln w="6350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02" name="Straight Connector 70">
                      <a:extLst>
                        <a:ext uri="{FF2B5EF4-FFF2-40B4-BE49-F238E27FC236}">
                          <a16:creationId xmlns:a16="http://schemas.microsoft.com/office/drawing/2014/main" id="{9332DF7F-A7D8-6316-4DBC-A582AF844B54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535952" y="4869160"/>
                      <a:ext cx="0" cy="72008"/>
                    </a:xfrm>
                    <a:prstGeom prst="line">
                      <a:avLst/>
                    </a:prstGeom>
                    <a:grpFill/>
                    <a:ln w="6350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96" name="Group 64">
                    <a:extLst>
                      <a:ext uri="{FF2B5EF4-FFF2-40B4-BE49-F238E27FC236}">
                        <a16:creationId xmlns:a16="http://schemas.microsoft.com/office/drawing/2014/main" id="{60E4CBB8-6BF3-5A09-5032-E518A7AB5906}"/>
                      </a:ext>
                    </a:extLst>
                  </p:cNvPr>
                  <p:cNvGrpSpPr/>
                  <p:nvPr/>
                </p:nvGrpSpPr>
                <p:grpSpPr>
                  <a:xfrm rot="1800000">
                    <a:off x="4535952" y="4150696"/>
                    <a:ext cx="0" cy="792088"/>
                    <a:chOff x="4535952" y="4149080"/>
                    <a:chExt cx="0" cy="792088"/>
                  </a:xfrm>
                  <a:grpFill/>
                </p:grpSpPr>
                <p:cxnSp>
                  <p:nvCxnSpPr>
                    <p:cNvPr id="299" name="Straight Connector 67">
                      <a:extLst>
                        <a:ext uri="{FF2B5EF4-FFF2-40B4-BE49-F238E27FC236}">
                          <a16:creationId xmlns:a16="http://schemas.microsoft.com/office/drawing/2014/main" id="{98697013-3651-F8B9-508C-C98D5F323685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535952" y="4149080"/>
                      <a:ext cx="0" cy="72008"/>
                    </a:xfrm>
                    <a:prstGeom prst="line">
                      <a:avLst/>
                    </a:prstGeom>
                    <a:grpFill/>
                    <a:ln w="6350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00" name="Straight Connector 68">
                      <a:extLst>
                        <a:ext uri="{FF2B5EF4-FFF2-40B4-BE49-F238E27FC236}">
                          <a16:creationId xmlns:a16="http://schemas.microsoft.com/office/drawing/2014/main" id="{68B952AC-C0A8-0B27-9BFA-F60310169DD9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535952" y="4869160"/>
                      <a:ext cx="0" cy="72008"/>
                    </a:xfrm>
                    <a:prstGeom prst="line">
                      <a:avLst/>
                    </a:prstGeom>
                    <a:grpFill/>
                    <a:ln w="6350" cap="flat" cmpd="sng" algn="ctr">
                      <a:solidFill>
                        <a:schemeClr val="tx1"/>
                      </a:solidFill>
                      <a:prstDash val="solid"/>
                    </a:ln>
                    <a:effectLst/>
                  </p:spPr>
                </p:cxnSp>
              </p:grpSp>
              <p:cxnSp>
                <p:nvCxnSpPr>
                  <p:cNvPr id="297" name="Straight Connector 65">
                    <a:extLst>
                      <a:ext uri="{FF2B5EF4-FFF2-40B4-BE49-F238E27FC236}">
                        <a16:creationId xmlns:a16="http://schemas.microsoft.com/office/drawing/2014/main" id="{C4EB83BF-FE51-24B9-50D6-EF12696F4A7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535951" y="4312367"/>
                    <a:ext cx="2" cy="232711"/>
                  </a:xfrm>
                  <a:prstGeom prst="line">
                    <a:avLst/>
                  </a:prstGeom>
                  <a:grpFill/>
                  <a:ln w="12700" cap="flat" cmpd="sng" algn="ctr">
                    <a:solidFill>
                      <a:schemeClr val="accent6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98" name="Straight Connector 66">
                    <a:extLst>
                      <a:ext uri="{FF2B5EF4-FFF2-40B4-BE49-F238E27FC236}">
                        <a16:creationId xmlns:a16="http://schemas.microsoft.com/office/drawing/2014/main" id="{6099660A-92D0-79D4-5876-E54BBDF750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513092" y="4261125"/>
                    <a:ext cx="22861" cy="291589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accent6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16" name="Gruppieren 278">
                  <a:extLst>
                    <a:ext uri="{FF2B5EF4-FFF2-40B4-BE49-F238E27FC236}">
                      <a16:creationId xmlns:a16="http://schemas.microsoft.com/office/drawing/2014/main" id="{6A7DDF3A-D810-F543-30E4-89C9253AF91C}"/>
                    </a:ext>
                  </a:extLst>
                </p:cNvPr>
                <p:cNvGrpSpPr/>
                <p:nvPr/>
              </p:nvGrpSpPr>
              <p:grpSpPr>
                <a:xfrm>
                  <a:off x="6768139" y="2806286"/>
                  <a:ext cx="324656" cy="267072"/>
                  <a:chOff x="3045718" y="3817300"/>
                  <a:chExt cx="1263600" cy="1039475"/>
                </a:xfrm>
                <a:solidFill>
                  <a:schemeClr val="bg1"/>
                </a:solidFill>
              </p:grpSpPr>
              <p:sp>
                <p:nvSpPr>
                  <p:cNvPr id="117" name="Freihandform: Form 226">
                    <a:extLst>
                      <a:ext uri="{FF2B5EF4-FFF2-40B4-BE49-F238E27FC236}">
                        <a16:creationId xmlns:a16="http://schemas.microsoft.com/office/drawing/2014/main" id="{C9F36F28-A228-424A-9542-97C1D9E7CCB5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3046531" y="3817300"/>
                    <a:ext cx="1262787" cy="1039475"/>
                  </a:xfrm>
                  <a:custGeom>
                    <a:avLst/>
                    <a:gdLst>
                      <a:gd name="connsiteX0" fmla="*/ 104722 w 844759"/>
                      <a:gd name="connsiteY0" fmla="*/ 0 h 695372"/>
                      <a:gd name="connsiteX1" fmla="*/ 119514 w 844759"/>
                      <a:gd name="connsiteY1" fmla="*/ 0 h 695372"/>
                      <a:gd name="connsiteX2" fmla="*/ 119514 w 844759"/>
                      <a:gd name="connsiteY2" fmla="*/ 31221 h 695372"/>
                      <a:gd name="connsiteX3" fmla="*/ 152265 w 844759"/>
                      <a:gd name="connsiteY3" fmla="*/ 63972 h 695372"/>
                      <a:gd name="connsiteX4" fmla="*/ 185016 w 844759"/>
                      <a:gd name="connsiteY4" fmla="*/ 31221 h 695372"/>
                      <a:gd name="connsiteX5" fmla="*/ 185016 w 844759"/>
                      <a:gd name="connsiteY5" fmla="*/ 0 h 695372"/>
                      <a:gd name="connsiteX6" fmla="*/ 671780 w 844759"/>
                      <a:gd name="connsiteY6" fmla="*/ 0 h 695372"/>
                      <a:gd name="connsiteX7" fmla="*/ 671780 w 844759"/>
                      <a:gd name="connsiteY7" fmla="*/ 31221 h 695372"/>
                      <a:gd name="connsiteX8" fmla="*/ 704531 w 844759"/>
                      <a:gd name="connsiteY8" fmla="*/ 63972 h 695372"/>
                      <a:gd name="connsiteX9" fmla="*/ 737282 w 844759"/>
                      <a:gd name="connsiteY9" fmla="*/ 31221 h 695372"/>
                      <a:gd name="connsiteX10" fmla="*/ 737282 w 844759"/>
                      <a:gd name="connsiteY10" fmla="*/ 0 h 695372"/>
                      <a:gd name="connsiteX11" fmla="*/ 737710 w 844759"/>
                      <a:gd name="connsiteY11" fmla="*/ 0 h 695372"/>
                      <a:gd name="connsiteX12" fmla="*/ 844759 w 844759"/>
                      <a:gd name="connsiteY12" fmla="*/ 86203 h 695372"/>
                      <a:gd name="connsiteX13" fmla="*/ 844759 w 844759"/>
                      <a:gd name="connsiteY13" fmla="*/ 607253 h 695372"/>
                      <a:gd name="connsiteX14" fmla="*/ 737710 w 844759"/>
                      <a:gd name="connsiteY14" fmla="*/ 695372 h 695372"/>
                      <a:gd name="connsiteX15" fmla="*/ 104722 w 844759"/>
                      <a:gd name="connsiteY15" fmla="*/ 695372 h 695372"/>
                      <a:gd name="connsiteX16" fmla="*/ 0 w 844759"/>
                      <a:gd name="connsiteY16" fmla="*/ 607253 h 695372"/>
                      <a:gd name="connsiteX17" fmla="*/ 0 w 844759"/>
                      <a:gd name="connsiteY17" fmla="*/ 86203 h 695372"/>
                      <a:gd name="connsiteX18" fmla="*/ 104722 w 844759"/>
                      <a:gd name="connsiteY18" fmla="*/ 0 h 69537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844759" h="695372">
                        <a:moveTo>
                          <a:pt x="104722" y="0"/>
                        </a:moveTo>
                        <a:lnTo>
                          <a:pt x="119514" y="0"/>
                        </a:lnTo>
                        <a:lnTo>
                          <a:pt x="119514" y="31221"/>
                        </a:lnTo>
                        <a:cubicBezTo>
                          <a:pt x="119514" y="49309"/>
                          <a:pt x="134177" y="63972"/>
                          <a:pt x="152265" y="63972"/>
                        </a:cubicBezTo>
                        <a:cubicBezTo>
                          <a:pt x="170353" y="63972"/>
                          <a:pt x="185016" y="49309"/>
                          <a:pt x="185016" y="31221"/>
                        </a:cubicBezTo>
                        <a:lnTo>
                          <a:pt x="185016" y="0"/>
                        </a:lnTo>
                        <a:lnTo>
                          <a:pt x="671780" y="0"/>
                        </a:lnTo>
                        <a:lnTo>
                          <a:pt x="671780" y="31221"/>
                        </a:lnTo>
                        <a:cubicBezTo>
                          <a:pt x="671780" y="49309"/>
                          <a:pt x="686443" y="63972"/>
                          <a:pt x="704531" y="63972"/>
                        </a:cubicBezTo>
                        <a:cubicBezTo>
                          <a:pt x="722619" y="63972"/>
                          <a:pt x="737282" y="49309"/>
                          <a:pt x="737282" y="31221"/>
                        </a:cubicBezTo>
                        <a:lnTo>
                          <a:pt x="737282" y="0"/>
                        </a:lnTo>
                        <a:lnTo>
                          <a:pt x="737710" y="0"/>
                        </a:lnTo>
                        <a:cubicBezTo>
                          <a:pt x="844759" y="0"/>
                          <a:pt x="844759" y="86203"/>
                          <a:pt x="844759" y="86203"/>
                        </a:cubicBezTo>
                        <a:cubicBezTo>
                          <a:pt x="844759" y="86203"/>
                          <a:pt x="844759" y="86203"/>
                          <a:pt x="844759" y="607253"/>
                        </a:cubicBezTo>
                        <a:cubicBezTo>
                          <a:pt x="844759" y="695372"/>
                          <a:pt x="737710" y="695372"/>
                          <a:pt x="737710" y="695372"/>
                        </a:cubicBezTo>
                        <a:cubicBezTo>
                          <a:pt x="737710" y="695372"/>
                          <a:pt x="737710" y="695372"/>
                          <a:pt x="104722" y="695372"/>
                        </a:cubicBezTo>
                        <a:cubicBezTo>
                          <a:pt x="0" y="695372"/>
                          <a:pt x="0" y="607253"/>
                          <a:pt x="0" y="607253"/>
                        </a:cubicBezTo>
                        <a:cubicBezTo>
                          <a:pt x="0" y="607253"/>
                          <a:pt x="0" y="607253"/>
                          <a:pt x="0" y="86203"/>
                        </a:cubicBezTo>
                        <a:cubicBezTo>
                          <a:pt x="0" y="0"/>
                          <a:pt x="104722" y="0"/>
                          <a:pt x="104722" y="0"/>
                        </a:cubicBezTo>
                        <a:close/>
                      </a:path>
                    </a:pathLst>
                  </a:custGeom>
                  <a:grpFill/>
                  <a:ln w="6350">
                    <a:solidFill>
                      <a:schemeClr val="tx1"/>
                    </a:solidFill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defTabSz="914378">
                      <a:defRPr/>
                    </a:pPr>
                    <a:endParaRPr lang="en-GB" sz="1800" kern="0" dirty="0">
                      <a:latin typeface="Arial"/>
                    </a:endParaRPr>
                  </a:p>
                </p:txBody>
              </p:sp>
              <p:cxnSp>
                <p:nvCxnSpPr>
                  <p:cNvPr id="118" name="Gerader Verbinder 227">
                    <a:extLst>
                      <a:ext uri="{FF2B5EF4-FFF2-40B4-BE49-F238E27FC236}">
                        <a16:creationId xmlns:a16="http://schemas.microsoft.com/office/drawing/2014/main" id="{697531BC-220B-E1B2-DF49-E75491A8A95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3045718" y="4077128"/>
                    <a:ext cx="1263600" cy="0"/>
                  </a:xfrm>
                  <a:prstGeom prst="line">
                    <a:avLst/>
                  </a:prstGeom>
                  <a:grpFill/>
                  <a:ln w="6350" cap="flat" cmpd="sng" algn="ctr">
                    <a:solidFill>
                      <a:schemeClr val="tx1"/>
                    </a:solidFill>
                    <a:prstDash val="solid"/>
                  </a:ln>
                  <a:effectLst/>
                </p:spPr>
              </p:cxnSp>
              <p:grpSp>
                <p:nvGrpSpPr>
                  <p:cNvPr id="119" name="Gruppieren 265">
                    <a:extLst>
                      <a:ext uri="{FF2B5EF4-FFF2-40B4-BE49-F238E27FC236}">
                        <a16:creationId xmlns:a16="http://schemas.microsoft.com/office/drawing/2014/main" id="{11C99195-8BFE-820E-F4F2-828C5FE89E01}"/>
                      </a:ext>
                    </a:extLst>
                  </p:cNvPr>
                  <p:cNvGrpSpPr/>
                  <p:nvPr/>
                </p:nvGrpSpPr>
                <p:grpSpPr>
                  <a:xfrm>
                    <a:off x="3126681" y="4147694"/>
                    <a:ext cx="1081335" cy="162627"/>
                    <a:chOff x="3126681" y="4147694"/>
                    <a:chExt cx="1081335" cy="162627"/>
                  </a:xfrm>
                  <a:grpFill/>
                </p:grpSpPr>
                <p:sp>
                  <p:nvSpPr>
                    <p:cNvPr id="132" name="Freeform 34">
                      <a:extLst>
                        <a:ext uri="{FF2B5EF4-FFF2-40B4-BE49-F238E27FC236}">
                          <a16:creationId xmlns:a16="http://schemas.microsoft.com/office/drawing/2014/main" id="{39B74837-8491-FFEE-D7CF-42034ECF2D3A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356358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6350">
                      <a:solidFill>
                        <a:schemeClr val="accent6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33" name="Freeform 34">
                      <a:extLst>
                        <a:ext uri="{FF2B5EF4-FFF2-40B4-BE49-F238E27FC236}">
                          <a16:creationId xmlns:a16="http://schemas.microsoft.com/office/drawing/2014/main" id="{C6B82642-B452-E2B1-0AD7-5032CDE0FF8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86035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6350">
                      <a:solidFill>
                        <a:schemeClr val="accent6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34" name="Freeform 34">
                      <a:extLst>
                        <a:ext uri="{FF2B5EF4-FFF2-40B4-BE49-F238E27FC236}">
                          <a16:creationId xmlns:a16="http://schemas.microsoft.com/office/drawing/2014/main" id="{D211B7AA-B7E8-C06F-C294-7635F4980FB6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815712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6350">
                      <a:solidFill>
                        <a:schemeClr val="accent6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35" name="Freeform 34">
                      <a:extLst>
                        <a:ext uri="{FF2B5EF4-FFF2-40B4-BE49-F238E27FC236}">
                          <a16:creationId xmlns:a16="http://schemas.microsoft.com/office/drawing/2014/main" id="{E4CA767C-75D2-0E9F-87EB-6F0507638336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45389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6350">
                      <a:solidFill>
                        <a:schemeClr val="accent6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36" name="Freeform 34">
                      <a:extLst>
                        <a:ext uri="{FF2B5EF4-FFF2-40B4-BE49-F238E27FC236}">
                          <a16:creationId xmlns:a16="http://schemas.microsoft.com/office/drawing/2014/main" id="{82604B7B-0418-45FB-19B4-D4D629D91F3B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126681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 w="6350">
                      <a:solidFill>
                        <a:schemeClr val="accent6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</p:grpSp>
              <p:grpSp>
                <p:nvGrpSpPr>
                  <p:cNvPr id="120" name="Gruppieren 266">
                    <a:extLst>
                      <a:ext uri="{FF2B5EF4-FFF2-40B4-BE49-F238E27FC236}">
                        <a16:creationId xmlns:a16="http://schemas.microsoft.com/office/drawing/2014/main" id="{6A6F24F3-DC6B-AFC6-C9E8-9357C81F32D8}"/>
                      </a:ext>
                    </a:extLst>
                  </p:cNvPr>
                  <p:cNvGrpSpPr/>
                  <p:nvPr/>
                </p:nvGrpSpPr>
                <p:grpSpPr>
                  <a:xfrm>
                    <a:off x="3126681" y="4360793"/>
                    <a:ext cx="1081335" cy="162627"/>
                    <a:chOff x="3126681" y="4147694"/>
                    <a:chExt cx="1081335" cy="162627"/>
                  </a:xfrm>
                  <a:grpFill/>
                </p:grpSpPr>
                <p:sp>
                  <p:nvSpPr>
                    <p:cNvPr id="127" name="Freeform 34">
                      <a:extLst>
                        <a:ext uri="{FF2B5EF4-FFF2-40B4-BE49-F238E27FC236}">
                          <a16:creationId xmlns:a16="http://schemas.microsoft.com/office/drawing/2014/main" id="{9226D400-1416-C9C7-6B71-B494EB05DF69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356358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tx1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28" name="Freeform 34">
                      <a:extLst>
                        <a:ext uri="{FF2B5EF4-FFF2-40B4-BE49-F238E27FC236}">
                          <a16:creationId xmlns:a16="http://schemas.microsoft.com/office/drawing/2014/main" id="{2D5FB643-ECDC-1ADD-1D7F-9F732C199F8F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86035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tx1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29" name="Freeform 34">
                      <a:extLst>
                        <a:ext uri="{FF2B5EF4-FFF2-40B4-BE49-F238E27FC236}">
                          <a16:creationId xmlns:a16="http://schemas.microsoft.com/office/drawing/2014/main" id="{A799BDA2-C1AB-E35C-FE0B-60BD847C0CB6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815712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tx1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30" name="Freeform 34">
                      <a:extLst>
                        <a:ext uri="{FF2B5EF4-FFF2-40B4-BE49-F238E27FC236}">
                          <a16:creationId xmlns:a16="http://schemas.microsoft.com/office/drawing/2014/main" id="{D7F0FCA9-A4B0-B797-0899-A6A1ED13D9D4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45389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tx1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31" name="Freeform 34">
                      <a:extLst>
                        <a:ext uri="{FF2B5EF4-FFF2-40B4-BE49-F238E27FC236}">
                          <a16:creationId xmlns:a16="http://schemas.microsoft.com/office/drawing/2014/main" id="{CC90F806-D348-F542-78D5-96057333B96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126681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tx1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</p:grpSp>
              <p:grpSp>
                <p:nvGrpSpPr>
                  <p:cNvPr id="121" name="Gruppieren 272">
                    <a:extLst>
                      <a:ext uri="{FF2B5EF4-FFF2-40B4-BE49-F238E27FC236}">
                        <a16:creationId xmlns:a16="http://schemas.microsoft.com/office/drawing/2014/main" id="{9458E746-E8F8-9537-DD01-4BC69FA36E3E}"/>
                      </a:ext>
                    </a:extLst>
                  </p:cNvPr>
                  <p:cNvGrpSpPr/>
                  <p:nvPr/>
                </p:nvGrpSpPr>
                <p:grpSpPr>
                  <a:xfrm>
                    <a:off x="3126681" y="4579154"/>
                    <a:ext cx="1081335" cy="162627"/>
                    <a:chOff x="3126681" y="4147694"/>
                    <a:chExt cx="1081335" cy="162627"/>
                  </a:xfrm>
                  <a:grpFill/>
                </p:grpSpPr>
                <p:sp>
                  <p:nvSpPr>
                    <p:cNvPr id="122" name="Freeform 34">
                      <a:extLst>
                        <a:ext uri="{FF2B5EF4-FFF2-40B4-BE49-F238E27FC236}">
                          <a16:creationId xmlns:a16="http://schemas.microsoft.com/office/drawing/2014/main" id="{4A50B009-0AE0-8151-19A7-C4965115B980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356358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tx1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23" name="Freeform 34">
                      <a:extLst>
                        <a:ext uri="{FF2B5EF4-FFF2-40B4-BE49-F238E27FC236}">
                          <a16:creationId xmlns:a16="http://schemas.microsoft.com/office/drawing/2014/main" id="{6B40DFDE-09AC-8591-826E-BFB07A9D6962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586035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tx1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24" name="Freeform 34">
                      <a:extLst>
                        <a:ext uri="{FF2B5EF4-FFF2-40B4-BE49-F238E27FC236}">
                          <a16:creationId xmlns:a16="http://schemas.microsoft.com/office/drawing/2014/main" id="{8D07CABC-0B71-8E02-B265-57D84F79DF81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815712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tx1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25" name="Freeform 34">
                      <a:extLst>
                        <a:ext uri="{FF2B5EF4-FFF2-40B4-BE49-F238E27FC236}">
                          <a16:creationId xmlns:a16="http://schemas.microsoft.com/office/drawing/2014/main" id="{0414E6DA-0371-27E4-2874-3886D3516296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045389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tx1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  <p:sp>
                  <p:nvSpPr>
                    <p:cNvPr id="126" name="Freeform 34">
                      <a:extLst>
                        <a:ext uri="{FF2B5EF4-FFF2-40B4-BE49-F238E27FC236}">
                          <a16:creationId xmlns:a16="http://schemas.microsoft.com/office/drawing/2014/main" id="{0EEB56BE-3FD5-6331-4FF4-A8BDF9DB4B26}"/>
                        </a:ext>
                      </a:extLst>
                    </p:cNvPr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3126681" y="4147694"/>
                      <a:ext cx="162627" cy="162627"/>
                    </a:xfrm>
                    <a:custGeom>
                      <a:avLst/>
                      <a:gdLst>
                        <a:gd name="T0" fmla="*/ 45 w 363"/>
                        <a:gd name="T1" fmla="*/ 0 h 363"/>
                        <a:gd name="T2" fmla="*/ 0 w 363"/>
                        <a:gd name="T3" fmla="*/ 45 h 363"/>
                        <a:gd name="T4" fmla="*/ 0 w 363"/>
                        <a:gd name="T5" fmla="*/ 317 h 363"/>
                        <a:gd name="T6" fmla="*/ 45 w 363"/>
                        <a:gd name="T7" fmla="*/ 363 h 363"/>
                        <a:gd name="T8" fmla="*/ 317 w 363"/>
                        <a:gd name="T9" fmla="*/ 363 h 363"/>
                        <a:gd name="T10" fmla="*/ 363 w 363"/>
                        <a:gd name="T11" fmla="*/ 317 h 363"/>
                        <a:gd name="T12" fmla="*/ 363 w 363"/>
                        <a:gd name="T13" fmla="*/ 45 h 363"/>
                        <a:gd name="T14" fmla="*/ 317 w 363"/>
                        <a:gd name="T15" fmla="*/ 0 h 363"/>
                        <a:gd name="T16" fmla="*/ 45 w 363"/>
                        <a:gd name="T17" fmla="*/ 0 h 3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363" h="363">
                          <a:moveTo>
                            <a:pt x="45" y="0"/>
                          </a:moveTo>
                          <a:cubicBezTo>
                            <a:pt x="45" y="0"/>
                            <a:pt x="0" y="0"/>
                            <a:pt x="0" y="45"/>
                          </a:cubicBezTo>
                          <a:cubicBezTo>
                            <a:pt x="0" y="317"/>
                            <a:pt x="0" y="317"/>
                            <a:pt x="0" y="317"/>
                          </a:cubicBezTo>
                          <a:cubicBezTo>
                            <a:pt x="0" y="317"/>
                            <a:pt x="0" y="363"/>
                            <a:pt x="45" y="363"/>
                          </a:cubicBezTo>
                          <a:cubicBezTo>
                            <a:pt x="317" y="363"/>
                            <a:pt x="317" y="363"/>
                            <a:pt x="317" y="363"/>
                          </a:cubicBezTo>
                          <a:cubicBezTo>
                            <a:pt x="317" y="363"/>
                            <a:pt x="363" y="363"/>
                            <a:pt x="363" y="317"/>
                          </a:cubicBezTo>
                          <a:cubicBezTo>
                            <a:pt x="363" y="45"/>
                            <a:pt x="363" y="45"/>
                            <a:pt x="363" y="45"/>
                          </a:cubicBezTo>
                          <a:cubicBezTo>
                            <a:pt x="363" y="45"/>
                            <a:pt x="363" y="0"/>
                            <a:pt x="317" y="0"/>
                          </a:cubicBezTo>
                          <a:lnTo>
                            <a:pt x="45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solidFill>
                        <a:schemeClr val="tx1"/>
                      </a:solidFill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78">
                        <a:defRPr/>
                      </a:pPr>
                      <a:endParaRPr lang="en-GB" sz="1800" kern="0" dirty="0">
                        <a:latin typeface="Arial"/>
                      </a:endParaRPr>
                    </a:p>
                  </p:txBody>
                </p:sp>
              </p:grpSp>
            </p:grpSp>
          </p:grpSp>
        </p:grpSp>
        <p:sp>
          <p:nvSpPr>
            <p:cNvPr id="112" name="Textplatzhalter 2">
              <a:extLst>
                <a:ext uri="{FF2B5EF4-FFF2-40B4-BE49-F238E27FC236}">
                  <a16:creationId xmlns:a16="http://schemas.microsoft.com/office/drawing/2014/main" id="{E27E229E-6549-D27B-45A0-A61E94ACD1BE}"/>
                </a:ext>
              </a:extLst>
            </p:cNvPr>
            <p:cNvSpPr txBox="1">
              <a:spLocks/>
            </p:cNvSpPr>
            <p:nvPr/>
          </p:nvSpPr>
          <p:spPr>
            <a:xfrm>
              <a:off x="6099342" y="3068499"/>
              <a:ext cx="1767348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44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Wingdings" pitchFamily="2" charset="2"/>
                <a:buChar char="§"/>
                <a:tabLst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88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2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76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44000" algn="l" defTabSz="987128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3846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08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600" dirty="0">
                  <a:solidFill>
                    <a:schemeClr val="accent6"/>
                  </a:solidFill>
                </a:rPr>
                <a:t>24</a:t>
              </a:r>
              <a:r>
                <a:rPr lang="en-GB" sz="1200" dirty="0">
                  <a:solidFill>
                    <a:schemeClr val="tx1"/>
                  </a:solidFill>
                </a:rPr>
                <a:t> hours of examination</a:t>
              </a:r>
            </a:p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200" dirty="0">
                  <a:solidFill>
                    <a:schemeClr val="tx1"/>
                  </a:solidFill>
                </a:rPr>
                <a:t>over </a:t>
              </a:r>
              <a:r>
                <a:rPr lang="en-GB" sz="1600" dirty="0">
                  <a:solidFill>
                    <a:schemeClr val="accent6"/>
                  </a:solidFill>
                </a:rPr>
                <a:t>5</a:t>
              </a:r>
              <a:r>
                <a:rPr lang="en-GB" sz="1600" dirty="0">
                  <a:solidFill>
                    <a:schemeClr val="tx1"/>
                  </a:solidFill>
                </a:rPr>
                <a:t> </a:t>
              </a:r>
              <a:r>
                <a:rPr lang="en-GB" sz="1200" dirty="0">
                  <a:solidFill>
                    <a:schemeClr val="tx1"/>
                  </a:solidFill>
                </a:rPr>
                <a:t>exam days </a:t>
              </a:r>
              <a:r>
                <a:rPr lang="en-GB" sz="1600" dirty="0">
                  <a:solidFill>
                    <a:schemeClr val="tx1"/>
                  </a:solidFill>
                </a:rPr>
                <a:t> </a:t>
              </a:r>
              <a:endParaRPr lang="en-GB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46" name="Gruppieren 345">
            <a:extLst>
              <a:ext uri="{FF2B5EF4-FFF2-40B4-BE49-F238E27FC236}">
                <a16:creationId xmlns:a16="http://schemas.microsoft.com/office/drawing/2014/main" id="{260A5CE4-D70E-C1A4-FFA5-C0236527FA01}"/>
              </a:ext>
            </a:extLst>
          </p:cNvPr>
          <p:cNvGrpSpPr/>
          <p:nvPr/>
        </p:nvGrpSpPr>
        <p:grpSpPr>
          <a:xfrm>
            <a:off x="1443424" y="2503297"/>
            <a:ext cx="2416601" cy="1203920"/>
            <a:chOff x="1443424" y="2503297"/>
            <a:chExt cx="2416601" cy="1203920"/>
          </a:xfrm>
        </p:grpSpPr>
        <p:grpSp>
          <p:nvGrpSpPr>
            <p:cNvPr id="337" name="Gruppieren 336">
              <a:extLst>
                <a:ext uri="{FF2B5EF4-FFF2-40B4-BE49-F238E27FC236}">
                  <a16:creationId xmlns:a16="http://schemas.microsoft.com/office/drawing/2014/main" id="{5F92828E-A4DE-5D6A-E3EE-4CBD11A050FC}"/>
                </a:ext>
              </a:extLst>
            </p:cNvPr>
            <p:cNvGrpSpPr/>
            <p:nvPr/>
          </p:nvGrpSpPr>
          <p:grpSpPr>
            <a:xfrm>
              <a:off x="2323730" y="2503297"/>
              <a:ext cx="655988" cy="655988"/>
              <a:chOff x="2390760" y="2512636"/>
              <a:chExt cx="655988" cy="655988"/>
            </a:xfrm>
          </p:grpSpPr>
          <p:sp>
            <p:nvSpPr>
              <p:cNvPr id="257" name="Ellipse 301">
                <a:extLst>
                  <a:ext uri="{FF2B5EF4-FFF2-40B4-BE49-F238E27FC236}">
                    <a16:creationId xmlns:a16="http://schemas.microsoft.com/office/drawing/2014/main" id="{B69259A2-4BF6-E1C9-AC28-077E2D7A2591}"/>
                  </a:ext>
                </a:extLst>
              </p:cNvPr>
              <p:cNvSpPr/>
              <p:nvPr/>
            </p:nvSpPr>
            <p:spPr>
              <a:xfrm>
                <a:off x="2390760" y="2512636"/>
                <a:ext cx="655988" cy="6559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endParaRPr lang="en-GB" dirty="0">
                  <a:solidFill>
                    <a:schemeClr val="tx1"/>
                  </a:solidFill>
                  <a:latin typeface="Arial"/>
                </a:endParaRPr>
              </a:p>
            </p:txBody>
          </p:sp>
          <p:grpSp>
            <p:nvGrpSpPr>
              <p:cNvPr id="247" name="Gruppieren 246">
                <a:extLst>
                  <a:ext uri="{FF2B5EF4-FFF2-40B4-BE49-F238E27FC236}">
                    <a16:creationId xmlns:a16="http://schemas.microsoft.com/office/drawing/2014/main" id="{1278E31F-23DA-3711-500F-936F06245689}"/>
                  </a:ext>
                </a:extLst>
              </p:cNvPr>
              <p:cNvGrpSpPr/>
              <p:nvPr/>
            </p:nvGrpSpPr>
            <p:grpSpPr>
              <a:xfrm>
                <a:off x="2522389" y="2640626"/>
                <a:ext cx="392730" cy="400008"/>
                <a:chOff x="-1395023" y="1474788"/>
                <a:chExt cx="1168155" cy="1189803"/>
              </a:xfrm>
            </p:grpSpPr>
            <p:grpSp>
              <p:nvGrpSpPr>
                <p:cNvPr id="248" name="Gruppieren 247">
                  <a:extLst>
                    <a:ext uri="{FF2B5EF4-FFF2-40B4-BE49-F238E27FC236}">
                      <a16:creationId xmlns:a16="http://schemas.microsoft.com/office/drawing/2014/main" id="{52A97214-E365-437F-55B2-5AEB10C39D6B}"/>
                    </a:ext>
                  </a:extLst>
                </p:cNvPr>
                <p:cNvGrpSpPr/>
                <p:nvPr/>
              </p:nvGrpSpPr>
              <p:grpSpPr>
                <a:xfrm>
                  <a:off x="-734552" y="2156907"/>
                  <a:ext cx="507684" cy="507684"/>
                  <a:chOff x="6019800" y="6730834"/>
                  <a:chExt cx="425450" cy="425450"/>
                </a:xfrm>
              </p:grpSpPr>
              <p:sp>
                <p:nvSpPr>
                  <p:cNvPr id="255" name="Freeform 648">
                    <a:extLst>
                      <a:ext uri="{FF2B5EF4-FFF2-40B4-BE49-F238E27FC236}">
                        <a16:creationId xmlns:a16="http://schemas.microsoft.com/office/drawing/2014/main" id="{1A765B5C-B87E-E81D-7742-DB8BF731241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019800" y="6730834"/>
                    <a:ext cx="425450" cy="425450"/>
                  </a:xfrm>
                  <a:custGeom>
                    <a:avLst/>
                    <a:gdLst>
                      <a:gd name="T0" fmla="*/ 41 w 134"/>
                      <a:gd name="T1" fmla="*/ 109 h 134"/>
                      <a:gd name="T2" fmla="*/ 26 w 134"/>
                      <a:gd name="T3" fmla="*/ 120 h 134"/>
                      <a:gd name="T4" fmla="*/ 13 w 134"/>
                      <a:gd name="T5" fmla="*/ 108 h 134"/>
                      <a:gd name="T6" fmla="*/ 24 w 134"/>
                      <a:gd name="T7" fmla="*/ 93 h 134"/>
                      <a:gd name="T8" fmla="*/ 18 w 134"/>
                      <a:gd name="T9" fmla="*/ 79 h 134"/>
                      <a:gd name="T10" fmla="*/ 0 w 134"/>
                      <a:gd name="T11" fmla="*/ 76 h 134"/>
                      <a:gd name="T12" fmla="*/ 0 w 134"/>
                      <a:gd name="T13" fmla="*/ 58 h 134"/>
                      <a:gd name="T14" fmla="*/ 18 w 134"/>
                      <a:gd name="T15" fmla="*/ 55 h 134"/>
                      <a:gd name="T16" fmla="*/ 24 w 134"/>
                      <a:gd name="T17" fmla="*/ 41 h 134"/>
                      <a:gd name="T18" fmla="*/ 13 w 134"/>
                      <a:gd name="T19" fmla="*/ 26 h 134"/>
                      <a:gd name="T20" fmla="*/ 26 w 134"/>
                      <a:gd name="T21" fmla="*/ 14 h 134"/>
                      <a:gd name="T22" fmla="*/ 40 w 134"/>
                      <a:gd name="T23" fmla="*/ 24 h 134"/>
                      <a:gd name="T24" fmla="*/ 55 w 134"/>
                      <a:gd name="T25" fmla="*/ 18 h 134"/>
                      <a:gd name="T26" fmla="*/ 57 w 134"/>
                      <a:gd name="T27" fmla="*/ 0 h 134"/>
                      <a:gd name="T28" fmla="*/ 76 w 134"/>
                      <a:gd name="T29" fmla="*/ 0 h 134"/>
                      <a:gd name="T30" fmla="*/ 78 w 134"/>
                      <a:gd name="T31" fmla="*/ 18 h 134"/>
                      <a:gd name="T32" fmla="*/ 93 w 134"/>
                      <a:gd name="T33" fmla="*/ 24 h 134"/>
                      <a:gd name="T34" fmla="*/ 108 w 134"/>
                      <a:gd name="T35" fmla="*/ 13 h 134"/>
                      <a:gd name="T36" fmla="*/ 120 w 134"/>
                      <a:gd name="T37" fmla="*/ 26 h 134"/>
                      <a:gd name="T38" fmla="*/ 109 w 134"/>
                      <a:gd name="T39" fmla="*/ 41 h 134"/>
                      <a:gd name="T40" fmla="*/ 115 w 134"/>
                      <a:gd name="T41" fmla="*/ 55 h 134"/>
                      <a:gd name="T42" fmla="*/ 134 w 134"/>
                      <a:gd name="T43" fmla="*/ 58 h 134"/>
                      <a:gd name="T44" fmla="*/ 134 w 134"/>
                      <a:gd name="T45" fmla="*/ 76 h 134"/>
                      <a:gd name="T46" fmla="*/ 115 w 134"/>
                      <a:gd name="T47" fmla="*/ 78 h 134"/>
                      <a:gd name="T48" fmla="*/ 109 w 134"/>
                      <a:gd name="T49" fmla="*/ 93 h 134"/>
                      <a:gd name="T50" fmla="*/ 120 w 134"/>
                      <a:gd name="T51" fmla="*/ 108 h 134"/>
                      <a:gd name="T52" fmla="*/ 108 w 134"/>
                      <a:gd name="T53" fmla="*/ 120 h 134"/>
                      <a:gd name="T54" fmla="*/ 93 w 134"/>
                      <a:gd name="T55" fmla="*/ 109 h 134"/>
                      <a:gd name="T56" fmla="*/ 78 w 134"/>
                      <a:gd name="T57" fmla="*/ 115 h 134"/>
                      <a:gd name="T58" fmla="*/ 78 w 134"/>
                      <a:gd name="T59" fmla="*/ 115 h 134"/>
                      <a:gd name="T60" fmla="*/ 78 w 134"/>
                      <a:gd name="T61" fmla="*/ 115 h 134"/>
                      <a:gd name="T62" fmla="*/ 78 w 134"/>
                      <a:gd name="T63" fmla="*/ 115 h 134"/>
                      <a:gd name="T64" fmla="*/ 75 w 134"/>
                      <a:gd name="T65" fmla="*/ 134 h 134"/>
                      <a:gd name="T66" fmla="*/ 57 w 134"/>
                      <a:gd name="T67" fmla="*/ 134 h 134"/>
                      <a:gd name="T68" fmla="*/ 55 w 134"/>
                      <a:gd name="T69" fmla="*/ 115 h 134"/>
                      <a:gd name="T70" fmla="*/ 41 w 134"/>
                      <a:gd name="T71" fmla="*/ 109 h 1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134" h="134">
                        <a:moveTo>
                          <a:pt x="41" y="109"/>
                        </a:moveTo>
                        <a:cubicBezTo>
                          <a:pt x="26" y="120"/>
                          <a:pt x="26" y="120"/>
                          <a:pt x="26" y="120"/>
                        </a:cubicBezTo>
                        <a:cubicBezTo>
                          <a:pt x="13" y="108"/>
                          <a:pt x="13" y="108"/>
                          <a:pt x="13" y="108"/>
                        </a:cubicBezTo>
                        <a:cubicBezTo>
                          <a:pt x="24" y="93"/>
                          <a:pt x="24" y="93"/>
                          <a:pt x="24" y="93"/>
                        </a:cubicBezTo>
                        <a:cubicBezTo>
                          <a:pt x="21" y="89"/>
                          <a:pt x="19" y="84"/>
                          <a:pt x="18" y="79"/>
                        </a:cubicBezTo>
                        <a:cubicBezTo>
                          <a:pt x="0" y="76"/>
                          <a:pt x="0" y="76"/>
                          <a:pt x="0" y="76"/>
                        </a:cubicBezTo>
                        <a:cubicBezTo>
                          <a:pt x="0" y="58"/>
                          <a:pt x="0" y="58"/>
                          <a:pt x="0" y="58"/>
                        </a:cubicBezTo>
                        <a:cubicBezTo>
                          <a:pt x="18" y="55"/>
                          <a:pt x="18" y="55"/>
                          <a:pt x="18" y="55"/>
                        </a:cubicBezTo>
                        <a:cubicBezTo>
                          <a:pt x="19" y="50"/>
                          <a:pt x="21" y="45"/>
                          <a:pt x="24" y="41"/>
                        </a:cubicBezTo>
                        <a:cubicBezTo>
                          <a:pt x="13" y="26"/>
                          <a:pt x="13" y="26"/>
                          <a:pt x="13" y="26"/>
                        </a:cubicBezTo>
                        <a:cubicBezTo>
                          <a:pt x="26" y="14"/>
                          <a:pt x="26" y="14"/>
                          <a:pt x="26" y="14"/>
                        </a:cubicBezTo>
                        <a:cubicBezTo>
                          <a:pt x="40" y="24"/>
                          <a:pt x="40" y="24"/>
                          <a:pt x="40" y="24"/>
                        </a:cubicBezTo>
                        <a:cubicBezTo>
                          <a:pt x="45" y="22"/>
                          <a:pt x="50" y="20"/>
                          <a:pt x="55" y="18"/>
                        </a:cubicBezTo>
                        <a:cubicBezTo>
                          <a:pt x="57" y="0"/>
                          <a:pt x="57" y="0"/>
                          <a:pt x="57" y="0"/>
                        </a:cubicBezTo>
                        <a:cubicBezTo>
                          <a:pt x="76" y="0"/>
                          <a:pt x="76" y="0"/>
                          <a:pt x="76" y="0"/>
                        </a:cubicBezTo>
                        <a:cubicBezTo>
                          <a:pt x="78" y="18"/>
                          <a:pt x="78" y="18"/>
                          <a:pt x="78" y="18"/>
                        </a:cubicBezTo>
                        <a:cubicBezTo>
                          <a:pt x="83" y="20"/>
                          <a:pt x="88" y="22"/>
                          <a:pt x="93" y="24"/>
                        </a:cubicBezTo>
                        <a:cubicBezTo>
                          <a:pt x="108" y="13"/>
                          <a:pt x="108" y="13"/>
                          <a:pt x="108" y="13"/>
                        </a:cubicBezTo>
                        <a:cubicBezTo>
                          <a:pt x="120" y="26"/>
                          <a:pt x="120" y="26"/>
                          <a:pt x="120" y="26"/>
                        </a:cubicBezTo>
                        <a:cubicBezTo>
                          <a:pt x="109" y="41"/>
                          <a:pt x="109" y="41"/>
                          <a:pt x="109" y="41"/>
                        </a:cubicBezTo>
                        <a:cubicBezTo>
                          <a:pt x="112" y="45"/>
                          <a:pt x="114" y="50"/>
                          <a:pt x="115" y="55"/>
                        </a:cubicBezTo>
                        <a:cubicBezTo>
                          <a:pt x="134" y="58"/>
                          <a:pt x="134" y="58"/>
                          <a:pt x="134" y="58"/>
                        </a:cubicBezTo>
                        <a:cubicBezTo>
                          <a:pt x="134" y="76"/>
                          <a:pt x="134" y="76"/>
                          <a:pt x="134" y="76"/>
                        </a:cubicBezTo>
                        <a:cubicBezTo>
                          <a:pt x="115" y="78"/>
                          <a:pt x="115" y="78"/>
                          <a:pt x="115" y="78"/>
                        </a:cubicBezTo>
                        <a:cubicBezTo>
                          <a:pt x="114" y="84"/>
                          <a:pt x="112" y="88"/>
                          <a:pt x="109" y="93"/>
                        </a:cubicBezTo>
                        <a:cubicBezTo>
                          <a:pt x="120" y="108"/>
                          <a:pt x="120" y="108"/>
                          <a:pt x="120" y="108"/>
                        </a:cubicBezTo>
                        <a:cubicBezTo>
                          <a:pt x="108" y="120"/>
                          <a:pt x="108" y="120"/>
                          <a:pt x="108" y="120"/>
                        </a:cubicBezTo>
                        <a:cubicBezTo>
                          <a:pt x="93" y="109"/>
                          <a:pt x="93" y="109"/>
                          <a:pt x="93" y="109"/>
                        </a:cubicBezTo>
                        <a:cubicBezTo>
                          <a:pt x="88" y="112"/>
                          <a:pt x="83" y="114"/>
                          <a:pt x="78" y="115"/>
                        </a:cubicBezTo>
                        <a:cubicBezTo>
                          <a:pt x="78" y="115"/>
                          <a:pt x="78" y="115"/>
                          <a:pt x="78" y="115"/>
                        </a:cubicBezTo>
                        <a:cubicBezTo>
                          <a:pt x="78" y="115"/>
                          <a:pt x="78" y="115"/>
                          <a:pt x="78" y="115"/>
                        </a:cubicBezTo>
                        <a:cubicBezTo>
                          <a:pt x="78" y="115"/>
                          <a:pt x="78" y="115"/>
                          <a:pt x="78" y="115"/>
                        </a:cubicBezTo>
                        <a:cubicBezTo>
                          <a:pt x="75" y="134"/>
                          <a:pt x="75" y="134"/>
                          <a:pt x="75" y="134"/>
                        </a:cubicBezTo>
                        <a:cubicBezTo>
                          <a:pt x="57" y="134"/>
                          <a:pt x="57" y="134"/>
                          <a:pt x="57" y="134"/>
                        </a:cubicBezTo>
                        <a:cubicBezTo>
                          <a:pt x="55" y="115"/>
                          <a:pt x="55" y="115"/>
                          <a:pt x="55" y="115"/>
                        </a:cubicBezTo>
                        <a:cubicBezTo>
                          <a:pt x="50" y="114"/>
                          <a:pt x="45" y="112"/>
                          <a:pt x="41" y="109"/>
                        </a:cubicBezTo>
                      </a:path>
                    </a:pathLst>
                  </a:custGeom>
                  <a:noFill/>
                  <a:ln w="9525" cap="flat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kern="0" dirty="0">
                      <a:solidFill>
                        <a:srgbClr val="404955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256" name="Freeform 649">
                    <a:extLst>
                      <a:ext uri="{FF2B5EF4-FFF2-40B4-BE49-F238E27FC236}">
                        <a16:creationId xmlns:a16="http://schemas.microsoft.com/office/drawing/2014/main" id="{E841B91F-F553-2700-5CFB-01BA0BA0FA8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43625" y="6857834"/>
                    <a:ext cx="174625" cy="171450"/>
                  </a:xfrm>
                  <a:custGeom>
                    <a:avLst/>
                    <a:gdLst>
                      <a:gd name="T0" fmla="*/ 50 w 55"/>
                      <a:gd name="T1" fmla="*/ 37 h 54"/>
                      <a:gd name="T2" fmla="*/ 18 w 55"/>
                      <a:gd name="T3" fmla="*/ 49 h 54"/>
                      <a:gd name="T4" fmla="*/ 6 w 55"/>
                      <a:gd name="T5" fmla="*/ 17 h 54"/>
                      <a:gd name="T6" fmla="*/ 38 w 55"/>
                      <a:gd name="T7" fmla="*/ 5 h 54"/>
                      <a:gd name="T8" fmla="*/ 50 w 55"/>
                      <a:gd name="T9" fmla="*/ 37 h 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5" h="54">
                        <a:moveTo>
                          <a:pt x="50" y="37"/>
                        </a:moveTo>
                        <a:cubicBezTo>
                          <a:pt x="44" y="49"/>
                          <a:pt x="30" y="54"/>
                          <a:pt x="18" y="49"/>
                        </a:cubicBezTo>
                        <a:cubicBezTo>
                          <a:pt x="6" y="43"/>
                          <a:pt x="0" y="29"/>
                          <a:pt x="6" y="17"/>
                        </a:cubicBezTo>
                        <a:cubicBezTo>
                          <a:pt x="11" y="5"/>
                          <a:pt x="25" y="0"/>
                          <a:pt x="38" y="5"/>
                        </a:cubicBezTo>
                        <a:cubicBezTo>
                          <a:pt x="50" y="10"/>
                          <a:pt x="55" y="25"/>
                          <a:pt x="50" y="37"/>
                        </a:cubicBezTo>
                        <a:close/>
                      </a:path>
                    </a:pathLst>
                  </a:custGeom>
                  <a:noFill/>
                  <a:ln w="9525" cap="flat">
                    <a:solidFill>
                      <a:schemeClr val="accent6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kern="0" dirty="0">
                      <a:solidFill>
                        <a:srgbClr val="404955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249" name="Gruppieren 248">
                  <a:extLst>
                    <a:ext uri="{FF2B5EF4-FFF2-40B4-BE49-F238E27FC236}">
                      <a16:creationId xmlns:a16="http://schemas.microsoft.com/office/drawing/2014/main" id="{1F8B22F8-8A98-F48D-4B12-368BBDFAE015}"/>
                    </a:ext>
                  </a:extLst>
                </p:cNvPr>
                <p:cNvGrpSpPr/>
                <p:nvPr/>
              </p:nvGrpSpPr>
              <p:grpSpPr>
                <a:xfrm>
                  <a:off x="-1395023" y="1474788"/>
                  <a:ext cx="1097070" cy="835707"/>
                  <a:chOff x="2372418" y="6278156"/>
                  <a:chExt cx="436429" cy="332455"/>
                </a:xfrm>
              </p:grpSpPr>
              <p:grpSp>
                <p:nvGrpSpPr>
                  <p:cNvPr id="250" name="Gruppieren 249">
                    <a:extLst>
                      <a:ext uri="{FF2B5EF4-FFF2-40B4-BE49-F238E27FC236}">
                        <a16:creationId xmlns:a16="http://schemas.microsoft.com/office/drawing/2014/main" id="{52306DF7-CFAE-4C85-DD24-766E33E13D3F}"/>
                      </a:ext>
                    </a:extLst>
                  </p:cNvPr>
                  <p:cNvGrpSpPr/>
                  <p:nvPr/>
                </p:nvGrpSpPr>
                <p:grpSpPr>
                  <a:xfrm>
                    <a:off x="2372418" y="6355469"/>
                    <a:ext cx="236012" cy="255142"/>
                    <a:chOff x="3800021" y="2196690"/>
                    <a:chExt cx="1970092" cy="2129785"/>
                  </a:xfrm>
                </p:grpSpPr>
                <p:sp>
                  <p:nvSpPr>
                    <p:cNvPr id="253" name="Ellipse 252">
                      <a:extLst>
                        <a:ext uri="{FF2B5EF4-FFF2-40B4-BE49-F238E27FC236}">
                          <a16:creationId xmlns:a16="http://schemas.microsoft.com/office/drawing/2014/main" id="{D8C19E91-5D82-9FD1-E584-FC7F15CCA6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28033" y="2196690"/>
                      <a:ext cx="1114060" cy="1114059"/>
                    </a:xfrm>
                    <a:prstGeom prst="ellipse">
                      <a:avLst/>
                    </a:prstGeom>
                    <a:noFill/>
                    <a:ln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</a:endParaRPr>
                    </a:p>
                  </p:txBody>
                </p:sp>
                <p:sp>
                  <p:nvSpPr>
                    <p:cNvPr id="254" name="Freihandform: Form 253">
                      <a:extLst>
                        <a:ext uri="{FF2B5EF4-FFF2-40B4-BE49-F238E27FC236}">
                          <a16:creationId xmlns:a16="http://schemas.microsoft.com/office/drawing/2014/main" id="{41A8B017-83CF-0DBD-5810-608838DEE2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00021" y="3533651"/>
                      <a:ext cx="1970092" cy="792824"/>
                    </a:xfrm>
                    <a:custGeom>
                      <a:avLst/>
                      <a:gdLst>
                        <a:gd name="connsiteX0" fmla="*/ 0 w 428625"/>
                        <a:gd name="connsiteY0" fmla="*/ 130969 h 135731"/>
                        <a:gd name="connsiteX1" fmla="*/ 216694 w 428625"/>
                        <a:gd name="connsiteY1" fmla="*/ 0 h 135731"/>
                        <a:gd name="connsiteX2" fmla="*/ 428625 w 428625"/>
                        <a:gd name="connsiteY2" fmla="*/ 95250 h 135731"/>
                        <a:gd name="connsiteX3" fmla="*/ 428625 w 428625"/>
                        <a:gd name="connsiteY3" fmla="*/ 135731 h 135731"/>
                        <a:gd name="connsiteX0" fmla="*/ 0 w 428625"/>
                        <a:gd name="connsiteY0" fmla="*/ 130969 h 135731"/>
                        <a:gd name="connsiteX1" fmla="*/ 37277 w 428625"/>
                        <a:gd name="connsiteY1" fmla="*/ 106660 h 135731"/>
                        <a:gd name="connsiteX2" fmla="*/ 216694 w 428625"/>
                        <a:gd name="connsiteY2" fmla="*/ 0 h 135731"/>
                        <a:gd name="connsiteX3" fmla="*/ 428625 w 428625"/>
                        <a:gd name="connsiteY3" fmla="*/ 95250 h 135731"/>
                        <a:gd name="connsiteX4" fmla="*/ 428625 w 428625"/>
                        <a:gd name="connsiteY4" fmla="*/ 135731 h 135731"/>
                        <a:gd name="connsiteX0" fmla="*/ 0 w 428625"/>
                        <a:gd name="connsiteY0" fmla="*/ 130969 h 135731"/>
                        <a:gd name="connsiteX1" fmla="*/ 342 w 428625"/>
                        <a:gd name="connsiteY1" fmla="*/ 94348 h 135731"/>
                        <a:gd name="connsiteX2" fmla="*/ 216694 w 428625"/>
                        <a:gd name="connsiteY2" fmla="*/ 0 h 135731"/>
                        <a:gd name="connsiteX3" fmla="*/ 428625 w 428625"/>
                        <a:gd name="connsiteY3" fmla="*/ 95250 h 135731"/>
                        <a:gd name="connsiteX4" fmla="*/ 428625 w 428625"/>
                        <a:gd name="connsiteY4" fmla="*/ 135731 h 135731"/>
                        <a:gd name="connsiteX0" fmla="*/ 0 w 428625"/>
                        <a:gd name="connsiteY0" fmla="*/ 130969 h 135731"/>
                        <a:gd name="connsiteX1" fmla="*/ 342 w 428625"/>
                        <a:gd name="connsiteY1" fmla="*/ 94348 h 135731"/>
                        <a:gd name="connsiteX2" fmla="*/ 216694 w 428625"/>
                        <a:gd name="connsiteY2" fmla="*/ 0 h 135731"/>
                        <a:gd name="connsiteX3" fmla="*/ 428625 w 428625"/>
                        <a:gd name="connsiteY3" fmla="*/ 95250 h 135731"/>
                        <a:gd name="connsiteX4" fmla="*/ 428625 w 428625"/>
                        <a:gd name="connsiteY4" fmla="*/ 135731 h 135731"/>
                        <a:gd name="connsiteX0" fmla="*/ 0 w 428625"/>
                        <a:gd name="connsiteY0" fmla="*/ 130969 h 135731"/>
                        <a:gd name="connsiteX1" fmla="*/ 342 w 428625"/>
                        <a:gd name="connsiteY1" fmla="*/ 94348 h 135731"/>
                        <a:gd name="connsiteX2" fmla="*/ 216694 w 428625"/>
                        <a:gd name="connsiteY2" fmla="*/ 0 h 135731"/>
                        <a:gd name="connsiteX3" fmla="*/ 428625 w 428625"/>
                        <a:gd name="connsiteY3" fmla="*/ 95250 h 135731"/>
                        <a:gd name="connsiteX4" fmla="*/ 428625 w 428625"/>
                        <a:gd name="connsiteY4" fmla="*/ 135731 h 135731"/>
                        <a:gd name="connsiteX0" fmla="*/ 0 w 428625"/>
                        <a:gd name="connsiteY0" fmla="*/ 40995 h 45757"/>
                        <a:gd name="connsiteX1" fmla="*/ 342 w 428625"/>
                        <a:gd name="connsiteY1" fmla="*/ 4374 h 45757"/>
                        <a:gd name="connsiteX2" fmla="*/ 428625 w 428625"/>
                        <a:gd name="connsiteY2" fmla="*/ 5276 h 45757"/>
                        <a:gd name="connsiteX3" fmla="*/ 428625 w 428625"/>
                        <a:gd name="connsiteY3" fmla="*/ 45757 h 45757"/>
                        <a:gd name="connsiteX0" fmla="*/ 0 w 428625"/>
                        <a:gd name="connsiteY0" fmla="*/ 93270 h 98032"/>
                        <a:gd name="connsiteX1" fmla="*/ 342 w 428625"/>
                        <a:gd name="connsiteY1" fmla="*/ 56649 h 98032"/>
                        <a:gd name="connsiteX2" fmla="*/ 428625 w 428625"/>
                        <a:gd name="connsiteY2" fmla="*/ 57551 h 98032"/>
                        <a:gd name="connsiteX3" fmla="*/ 428625 w 428625"/>
                        <a:gd name="connsiteY3" fmla="*/ 98032 h 98032"/>
                        <a:gd name="connsiteX0" fmla="*/ 0 w 428625"/>
                        <a:gd name="connsiteY0" fmla="*/ 125682 h 130444"/>
                        <a:gd name="connsiteX1" fmla="*/ 342 w 428625"/>
                        <a:gd name="connsiteY1" fmla="*/ 89061 h 130444"/>
                        <a:gd name="connsiteX2" fmla="*/ 428625 w 428625"/>
                        <a:gd name="connsiteY2" fmla="*/ 89963 h 130444"/>
                        <a:gd name="connsiteX3" fmla="*/ 428625 w 428625"/>
                        <a:gd name="connsiteY3" fmla="*/ 130444 h 130444"/>
                        <a:gd name="connsiteX0" fmla="*/ 0 w 428625"/>
                        <a:gd name="connsiteY0" fmla="*/ 123335 h 128097"/>
                        <a:gd name="connsiteX1" fmla="*/ 342 w 428625"/>
                        <a:gd name="connsiteY1" fmla="*/ 86714 h 128097"/>
                        <a:gd name="connsiteX2" fmla="*/ 428625 w 428625"/>
                        <a:gd name="connsiteY2" fmla="*/ 87616 h 128097"/>
                        <a:gd name="connsiteX3" fmla="*/ 428625 w 428625"/>
                        <a:gd name="connsiteY3" fmla="*/ 128097 h 1280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8625" h="128097">
                          <a:moveTo>
                            <a:pt x="0" y="123335"/>
                          </a:moveTo>
                          <a:lnTo>
                            <a:pt x="342" y="86714"/>
                          </a:lnTo>
                          <a:cubicBezTo>
                            <a:pt x="79987" y="-25940"/>
                            <a:pt x="343907" y="-32138"/>
                            <a:pt x="428625" y="87616"/>
                          </a:cubicBezTo>
                          <a:lnTo>
                            <a:pt x="428625" y="128097"/>
                          </a:lnTo>
                        </a:path>
                      </a:pathLst>
                    </a:custGeom>
                    <a:noFill/>
                    <a:ln w="9525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4572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</a:endParaRPr>
                    </a:p>
                  </p:txBody>
                </p:sp>
              </p:grpSp>
              <p:sp>
                <p:nvSpPr>
                  <p:cNvPr id="251" name="Ellipse 250">
                    <a:extLst>
                      <a:ext uri="{FF2B5EF4-FFF2-40B4-BE49-F238E27FC236}">
                        <a16:creationId xmlns:a16="http://schemas.microsoft.com/office/drawing/2014/main" id="{64B4E88D-C39E-9BA6-D0D9-1AD0911E6892}"/>
                      </a:ext>
                    </a:extLst>
                  </p:cNvPr>
                  <p:cNvSpPr/>
                  <p:nvPr/>
                </p:nvSpPr>
                <p:spPr>
                  <a:xfrm>
                    <a:off x="2624109" y="6278156"/>
                    <a:ext cx="133462" cy="133461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chemeClr val="tx1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252" name="Freihandform: Form 251">
                    <a:extLst>
                      <a:ext uri="{FF2B5EF4-FFF2-40B4-BE49-F238E27FC236}">
                        <a16:creationId xmlns:a16="http://schemas.microsoft.com/office/drawing/2014/main" id="{F2D8C8FE-545F-C4CC-8978-018CF3437C7C}"/>
                      </a:ext>
                    </a:extLst>
                  </p:cNvPr>
                  <p:cNvSpPr/>
                  <p:nvPr/>
                </p:nvSpPr>
                <p:spPr>
                  <a:xfrm>
                    <a:off x="2601846" y="6438320"/>
                    <a:ext cx="207001" cy="94978"/>
                  </a:xfrm>
                  <a:custGeom>
                    <a:avLst/>
                    <a:gdLst>
                      <a:gd name="connsiteX0" fmla="*/ 88042 w 207001"/>
                      <a:gd name="connsiteY0" fmla="*/ 9 h 94978"/>
                      <a:gd name="connsiteX1" fmla="*/ 207001 w 207001"/>
                      <a:gd name="connsiteY1" fmla="*/ 64963 h 94978"/>
                      <a:gd name="connsiteX2" fmla="*/ 207001 w 207001"/>
                      <a:gd name="connsiteY2" fmla="*/ 94978 h 94978"/>
                      <a:gd name="connsiteX3" fmla="*/ 91801 w 207001"/>
                      <a:gd name="connsiteY3" fmla="*/ 93255 h 94978"/>
                      <a:gd name="connsiteX4" fmla="*/ 0 w 207001"/>
                      <a:gd name="connsiteY4" fmla="*/ 30966 h 94978"/>
                      <a:gd name="connsiteX5" fmla="*/ 19966 w 207001"/>
                      <a:gd name="connsiteY5" fmla="*/ 16674 h 94978"/>
                      <a:gd name="connsiteX6" fmla="*/ 88042 w 207001"/>
                      <a:gd name="connsiteY6" fmla="*/ 9 h 94978"/>
                      <a:gd name="connsiteX0" fmla="*/ 91801 w 207001"/>
                      <a:gd name="connsiteY0" fmla="*/ 93255 h 184695"/>
                      <a:gd name="connsiteX1" fmla="*/ 0 w 207001"/>
                      <a:gd name="connsiteY1" fmla="*/ 30966 h 184695"/>
                      <a:gd name="connsiteX2" fmla="*/ 19966 w 207001"/>
                      <a:gd name="connsiteY2" fmla="*/ 16674 h 184695"/>
                      <a:gd name="connsiteX3" fmla="*/ 88042 w 207001"/>
                      <a:gd name="connsiteY3" fmla="*/ 9 h 184695"/>
                      <a:gd name="connsiteX4" fmla="*/ 207001 w 207001"/>
                      <a:gd name="connsiteY4" fmla="*/ 64963 h 184695"/>
                      <a:gd name="connsiteX5" fmla="*/ 207001 w 207001"/>
                      <a:gd name="connsiteY5" fmla="*/ 94978 h 184695"/>
                      <a:gd name="connsiteX6" fmla="*/ 183241 w 207001"/>
                      <a:gd name="connsiteY6" fmla="*/ 184695 h 184695"/>
                      <a:gd name="connsiteX0" fmla="*/ 91801 w 207001"/>
                      <a:gd name="connsiteY0" fmla="*/ 93255 h 94978"/>
                      <a:gd name="connsiteX1" fmla="*/ 0 w 207001"/>
                      <a:gd name="connsiteY1" fmla="*/ 30966 h 94978"/>
                      <a:gd name="connsiteX2" fmla="*/ 19966 w 207001"/>
                      <a:gd name="connsiteY2" fmla="*/ 16674 h 94978"/>
                      <a:gd name="connsiteX3" fmla="*/ 88042 w 207001"/>
                      <a:gd name="connsiteY3" fmla="*/ 9 h 94978"/>
                      <a:gd name="connsiteX4" fmla="*/ 207001 w 207001"/>
                      <a:gd name="connsiteY4" fmla="*/ 64963 h 94978"/>
                      <a:gd name="connsiteX5" fmla="*/ 207001 w 207001"/>
                      <a:gd name="connsiteY5" fmla="*/ 94978 h 94978"/>
                      <a:gd name="connsiteX0" fmla="*/ 0 w 207001"/>
                      <a:gd name="connsiteY0" fmla="*/ 30966 h 94978"/>
                      <a:gd name="connsiteX1" fmla="*/ 19966 w 207001"/>
                      <a:gd name="connsiteY1" fmla="*/ 16674 h 94978"/>
                      <a:gd name="connsiteX2" fmla="*/ 88042 w 207001"/>
                      <a:gd name="connsiteY2" fmla="*/ 9 h 94978"/>
                      <a:gd name="connsiteX3" fmla="*/ 207001 w 207001"/>
                      <a:gd name="connsiteY3" fmla="*/ 64963 h 94978"/>
                      <a:gd name="connsiteX4" fmla="*/ 207001 w 207001"/>
                      <a:gd name="connsiteY4" fmla="*/ 94978 h 949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7001" h="94978">
                        <a:moveTo>
                          <a:pt x="0" y="30966"/>
                        </a:moveTo>
                        <a:lnTo>
                          <a:pt x="19966" y="16674"/>
                        </a:lnTo>
                        <a:cubicBezTo>
                          <a:pt x="40486" y="5885"/>
                          <a:pt x="64220" y="254"/>
                          <a:pt x="88042" y="9"/>
                        </a:cubicBezTo>
                        <a:cubicBezTo>
                          <a:pt x="135685" y="-482"/>
                          <a:pt x="183677" y="20567"/>
                          <a:pt x="207001" y="64963"/>
                        </a:cubicBezTo>
                        <a:lnTo>
                          <a:pt x="207001" y="94978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/>
                    </a:solidFill>
                    <a:prstDash val="solid"/>
                    <a:miter lim="800000"/>
                  </a:ln>
                  <a:effectLst/>
                </p:spPr>
                <p:txBody>
                  <a:bodyPr wrap="square" rtlCol="0" anchor="ctr">
                    <a:noAutofit/>
                  </a:bodyPr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p:grpSp>
          </p:grpSp>
        </p:grpSp>
        <p:sp>
          <p:nvSpPr>
            <p:cNvPr id="160" name="Textplatzhalter 2">
              <a:extLst>
                <a:ext uri="{FF2B5EF4-FFF2-40B4-BE49-F238E27FC236}">
                  <a16:creationId xmlns:a16="http://schemas.microsoft.com/office/drawing/2014/main" id="{5A92AFBB-AE4B-76E3-AC47-0ACFD879838E}"/>
                </a:ext>
              </a:extLst>
            </p:cNvPr>
            <p:cNvSpPr txBox="1">
              <a:spLocks/>
            </p:cNvSpPr>
            <p:nvPr/>
          </p:nvSpPr>
          <p:spPr>
            <a:xfrm>
              <a:off x="1443424" y="3074287"/>
              <a:ext cx="2416601" cy="63293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144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Wingdings" pitchFamily="2" charset="2"/>
                <a:buChar char="§"/>
                <a:tabLst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88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2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76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44000" algn="l" defTabSz="987128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3846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08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dirty="0">
                  <a:solidFill>
                    <a:schemeClr val="accent6"/>
                  </a:solidFill>
                </a:rPr>
                <a:t>&gt;</a:t>
              </a:r>
              <a:r>
                <a:rPr lang="en-GB" sz="1600" dirty="0">
                  <a:solidFill>
                    <a:schemeClr val="accent6"/>
                  </a:solidFill>
                </a:rPr>
                <a:t>300</a:t>
              </a:r>
              <a:r>
                <a:rPr lang="en-GB" sz="1200" dirty="0">
                  <a:solidFill>
                    <a:schemeClr val="accent6"/>
                  </a:solidFill>
                </a:rPr>
                <a:t> </a:t>
              </a:r>
              <a:r>
                <a:rPr lang="en-GB" sz="1200" dirty="0">
                  <a:solidFill>
                    <a:schemeClr val="tx1"/>
                  </a:solidFill>
                </a:rPr>
                <a:t>professionals involved, </a:t>
              </a:r>
            </a:p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200" dirty="0">
                  <a:solidFill>
                    <a:schemeClr val="tx1"/>
                  </a:solidFill>
                </a:rPr>
                <a:t>including governance, drafting, </a:t>
              </a:r>
            </a:p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200" dirty="0">
                  <a:solidFill>
                    <a:schemeClr val="tx1"/>
                  </a:solidFill>
                </a:rPr>
                <a:t>marking and quality</a:t>
              </a:r>
            </a:p>
          </p:txBody>
        </p:sp>
      </p:grpSp>
      <p:grpSp>
        <p:nvGrpSpPr>
          <p:cNvPr id="345" name="Gruppieren 344">
            <a:extLst>
              <a:ext uri="{FF2B5EF4-FFF2-40B4-BE49-F238E27FC236}">
                <a16:creationId xmlns:a16="http://schemas.microsoft.com/office/drawing/2014/main" id="{357424B0-87F9-C9E5-49D8-03D931A6F9E3}"/>
              </a:ext>
            </a:extLst>
          </p:cNvPr>
          <p:cNvGrpSpPr/>
          <p:nvPr/>
        </p:nvGrpSpPr>
        <p:grpSpPr>
          <a:xfrm>
            <a:off x="3826561" y="2503297"/>
            <a:ext cx="2085507" cy="1058115"/>
            <a:chOff x="3826561" y="2503297"/>
            <a:chExt cx="2085507" cy="1058115"/>
          </a:xfrm>
        </p:grpSpPr>
        <p:grpSp>
          <p:nvGrpSpPr>
            <p:cNvPr id="336" name="Gruppieren 335">
              <a:extLst>
                <a:ext uri="{FF2B5EF4-FFF2-40B4-BE49-F238E27FC236}">
                  <a16:creationId xmlns:a16="http://schemas.microsoft.com/office/drawing/2014/main" id="{CE858206-D241-2453-108D-D9DE27F1BB2D}"/>
                </a:ext>
              </a:extLst>
            </p:cNvPr>
            <p:cNvGrpSpPr/>
            <p:nvPr/>
          </p:nvGrpSpPr>
          <p:grpSpPr>
            <a:xfrm>
              <a:off x="4541320" y="2503297"/>
              <a:ext cx="655988" cy="655988"/>
              <a:chOff x="4358894" y="2544764"/>
              <a:chExt cx="655988" cy="655988"/>
            </a:xfrm>
          </p:grpSpPr>
          <p:sp>
            <p:nvSpPr>
              <p:cNvPr id="182" name="Ellipse 308">
                <a:extLst>
                  <a:ext uri="{FF2B5EF4-FFF2-40B4-BE49-F238E27FC236}">
                    <a16:creationId xmlns:a16="http://schemas.microsoft.com/office/drawing/2014/main" id="{3D3AE9ED-FC2F-1EFE-CDC2-A312E8A98332}"/>
                  </a:ext>
                </a:extLst>
              </p:cNvPr>
              <p:cNvSpPr/>
              <p:nvPr/>
            </p:nvSpPr>
            <p:spPr>
              <a:xfrm>
                <a:off x="4358894" y="2544764"/>
                <a:ext cx="655988" cy="6559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endParaRPr lang="en-GB" sz="1800" dirty="0">
                  <a:solidFill>
                    <a:schemeClr val="tx1"/>
                  </a:solidFill>
                  <a:latin typeface="Arial"/>
                </a:endParaRPr>
              </a:p>
            </p:txBody>
          </p:sp>
          <p:grpSp>
            <p:nvGrpSpPr>
              <p:cNvPr id="279" name="Gruppieren 278">
                <a:extLst>
                  <a:ext uri="{FF2B5EF4-FFF2-40B4-BE49-F238E27FC236}">
                    <a16:creationId xmlns:a16="http://schemas.microsoft.com/office/drawing/2014/main" id="{8F3DD06D-7A7C-F592-F8FD-73FBE3F38967}"/>
                  </a:ext>
                </a:extLst>
              </p:cNvPr>
              <p:cNvGrpSpPr/>
              <p:nvPr/>
            </p:nvGrpSpPr>
            <p:grpSpPr>
              <a:xfrm>
                <a:off x="4484251" y="2714010"/>
                <a:ext cx="405274" cy="317496"/>
                <a:chOff x="6191668" y="1071559"/>
                <a:chExt cx="978144" cy="766290"/>
              </a:xfrm>
            </p:grpSpPr>
            <p:sp>
              <p:nvSpPr>
                <p:cNvPr id="280" name="Line 195">
                  <a:extLst>
                    <a:ext uri="{FF2B5EF4-FFF2-40B4-BE49-F238E27FC236}">
                      <a16:creationId xmlns:a16="http://schemas.microsoft.com/office/drawing/2014/main" id="{C9C24CCE-D87D-AA7C-A300-1B7C10264437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6592842" y="1725159"/>
                  <a:ext cx="0" cy="112690"/>
                </a:xfrm>
                <a:prstGeom prst="line">
                  <a:avLst/>
                </a:prstGeom>
                <a:noFill/>
                <a:ln w="9525" cap="flat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81" name="Line 196">
                  <a:extLst>
                    <a:ext uri="{FF2B5EF4-FFF2-40B4-BE49-F238E27FC236}">
                      <a16:creationId xmlns:a16="http://schemas.microsoft.com/office/drawing/2014/main" id="{6A100D63-06D5-82B3-D1B2-971EB287A9F3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6518468" y="1837849"/>
                  <a:ext cx="326800" cy="0"/>
                </a:xfrm>
                <a:prstGeom prst="line">
                  <a:avLst/>
                </a:prstGeom>
                <a:noFill/>
                <a:ln w="9525" cap="rnd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82" name="Line 199">
                  <a:extLst>
                    <a:ext uri="{FF2B5EF4-FFF2-40B4-BE49-F238E27FC236}">
                      <a16:creationId xmlns:a16="http://schemas.microsoft.com/office/drawing/2014/main" id="{E411860E-8FA5-4226-C154-203D41472AEE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6768638" y="1725159"/>
                  <a:ext cx="0" cy="112690"/>
                </a:xfrm>
                <a:prstGeom prst="line">
                  <a:avLst/>
                </a:prstGeom>
                <a:noFill/>
                <a:ln w="9525" cap="flat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283" name="Freihandform: Form 282">
                  <a:extLst>
                    <a:ext uri="{FF2B5EF4-FFF2-40B4-BE49-F238E27FC236}">
                      <a16:creationId xmlns:a16="http://schemas.microsoft.com/office/drawing/2014/main" id="{00CEAF32-3685-CD7C-E450-E29C4774A2B3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 flipV="1">
                  <a:off x="6191668" y="1071559"/>
                  <a:ext cx="978144" cy="653600"/>
                </a:xfrm>
                <a:custGeom>
                  <a:avLst/>
                  <a:gdLst>
                    <a:gd name="connsiteX0" fmla="*/ 96556 w 2524234"/>
                    <a:gd name="connsiteY0" fmla="*/ 1686702 h 1686702"/>
                    <a:gd name="connsiteX1" fmla="*/ 97633 w 2524234"/>
                    <a:gd name="connsiteY1" fmla="*/ 1686702 h 1686702"/>
                    <a:gd name="connsiteX2" fmla="*/ 105177 w 2524234"/>
                    <a:gd name="connsiteY2" fmla="*/ 1686702 h 1686702"/>
                    <a:gd name="connsiteX3" fmla="*/ 125652 w 2524234"/>
                    <a:gd name="connsiteY3" fmla="*/ 1686702 h 1686702"/>
                    <a:gd name="connsiteX4" fmla="*/ 165524 w 2524234"/>
                    <a:gd name="connsiteY4" fmla="*/ 1686702 h 1686702"/>
                    <a:gd name="connsiteX5" fmla="*/ 231259 w 2524234"/>
                    <a:gd name="connsiteY5" fmla="*/ 1686702 h 1686702"/>
                    <a:gd name="connsiteX6" fmla="*/ 308340 w 2524234"/>
                    <a:gd name="connsiteY6" fmla="*/ 1686702 h 1686702"/>
                    <a:gd name="connsiteX7" fmla="*/ 329323 w 2524234"/>
                    <a:gd name="connsiteY7" fmla="*/ 1686702 h 1686702"/>
                    <a:gd name="connsiteX8" fmla="*/ 392499 w 2524234"/>
                    <a:gd name="connsiteY8" fmla="*/ 1686702 h 1686702"/>
                    <a:gd name="connsiteX9" fmla="*/ 466182 w 2524234"/>
                    <a:gd name="connsiteY9" fmla="*/ 1686702 h 1686702"/>
                    <a:gd name="connsiteX10" fmla="*/ 506892 w 2524234"/>
                    <a:gd name="connsiteY10" fmla="*/ 1686702 h 1686702"/>
                    <a:gd name="connsiteX11" fmla="*/ 551180 w 2524234"/>
                    <a:gd name="connsiteY11" fmla="*/ 1686702 h 1686702"/>
                    <a:gd name="connsiteX12" fmla="*/ 648301 w 2524234"/>
                    <a:gd name="connsiteY12" fmla="*/ 1686702 h 1686702"/>
                    <a:gd name="connsiteX13" fmla="*/ 692640 w 2524234"/>
                    <a:gd name="connsiteY13" fmla="*/ 1686702 h 1686702"/>
                    <a:gd name="connsiteX14" fmla="*/ 1858557 w 2524234"/>
                    <a:gd name="connsiteY14" fmla="*/ 1686702 h 1686702"/>
                    <a:gd name="connsiteX15" fmla="*/ 1875934 w 2524234"/>
                    <a:gd name="connsiteY15" fmla="*/ 1686702 h 1686702"/>
                    <a:gd name="connsiteX16" fmla="*/ 1877011 w 2524234"/>
                    <a:gd name="connsiteY16" fmla="*/ 1686702 h 1686702"/>
                    <a:gd name="connsiteX17" fmla="*/ 1884555 w 2524234"/>
                    <a:gd name="connsiteY17" fmla="*/ 1686702 h 1686702"/>
                    <a:gd name="connsiteX18" fmla="*/ 1905030 w 2524234"/>
                    <a:gd name="connsiteY18" fmla="*/ 1686702 h 1686702"/>
                    <a:gd name="connsiteX19" fmla="*/ 1944902 w 2524234"/>
                    <a:gd name="connsiteY19" fmla="*/ 1686702 h 1686702"/>
                    <a:gd name="connsiteX20" fmla="*/ 2010637 w 2524234"/>
                    <a:gd name="connsiteY20" fmla="*/ 1686702 h 1686702"/>
                    <a:gd name="connsiteX21" fmla="*/ 2012789 w 2524234"/>
                    <a:gd name="connsiteY21" fmla="*/ 1686702 h 1686702"/>
                    <a:gd name="connsiteX22" fmla="*/ 2108701 w 2524234"/>
                    <a:gd name="connsiteY22" fmla="*/ 1686702 h 1686702"/>
                    <a:gd name="connsiteX23" fmla="*/ 2136288 w 2524234"/>
                    <a:gd name="connsiteY23" fmla="*/ 1686702 h 1686702"/>
                    <a:gd name="connsiteX24" fmla="*/ 2171877 w 2524234"/>
                    <a:gd name="connsiteY24" fmla="*/ 1686702 h 1686702"/>
                    <a:gd name="connsiteX25" fmla="*/ 2232470 w 2524234"/>
                    <a:gd name="connsiteY25" fmla="*/ 1686702 h 1686702"/>
                    <a:gd name="connsiteX26" fmla="*/ 2245560 w 2524234"/>
                    <a:gd name="connsiteY26" fmla="*/ 1686702 h 1686702"/>
                    <a:gd name="connsiteX27" fmla="*/ 2304748 w 2524234"/>
                    <a:gd name="connsiteY27" fmla="*/ 1686702 h 1686702"/>
                    <a:gd name="connsiteX28" fmla="*/ 2330558 w 2524234"/>
                    <a:gd name="connsiteY28" fmla="*/ 1686702 h 1686702"/>
                    <a:gd name="connsiteX29" fmla="*/ 2356539 w 2524234"/>
                    <a:gd name="connsiteY29" fmla="*/ 1686702 h 1686702"/>
                    <a:gd name="connsiteX30" fmla="*/ 2427679 w 2524234"/>
                    <a:gd name="connsiteY30" fmla="*/ 1686702 h 1686702"/>
                    <a:gd name="connsiteX31" fmla="*/ 2524234 w 2524234"/>
                    <a:gd name="connsiteY31" fmla="*/ 1603750 h 1686702"/>
                    <a:gd name="connsiteX32" fmla="*/ 2524234 w 2524234"/>
                    <a:gd name="connsiteY32" fmla="*/ 1589924 h 1686702"/>
                    <a:gd name="connsiteX33" fmla="*/ 2524234 w 2524234"/>
                    <a:gd name="connsiteY33" fmla="*/ 1586981 h 1686702"/>
                    <a:gd name="connsiteX34" fmla="*/ 2524234 w 2524234"/>
                    <a:gd name="connsiteY34" fmla="*/ 1579990 h 1686702"/>
                    <a:gd name="connsiteX35" fmla="*/ 2524234 w 2524234"/>
                    <a:gd name="connsiteY35" fmla="*/ 1566378 h 1686702"/>
                    <a:gd name="connsiteX36" fmla="*/ 2524234 w 2524234"/>
                    <a:gd name="connsiteY36" fmla="*/ 1543935 h 1686702"/>
                    <a:gd name="connsiteX37" fmla="*/ 2524234 w 2524234"/>
                    <a:gd name="connsiteY37" fmla="*/ 1510455 h 1686702"/>
                    <a:gd name="connsiteX38" fmla="*/ 2524234 w 2524234"/>
                    <a:gd name="connsiteY38" fmla="*/ 1466840 h 1686702"/>
                    <a:gd name="connsiteX39" fmla="*/ 2524234 w 2524234"/>
                    <a:gd name="connsiteY39" fmla="*/ 1463730 h 1686702"/>
                    <a:gd name="connsiteX40" fmla="*/ 2524234 w 2524234"/>
                    <a:gd name="connsiteY40" fmla="*/ 1401553 h 1686702"/>
                    <a:gd name="connsiteX41" fmla="*/ 2524234 w 2524234"/>
                    <a:gd name="connsiteY41" fmla="*/ 1338484 h 1686702"/>
                    <a:gd name="connsiteX42" fmla="*/ 2524234 w 2524234"/>
                    <a:gd name="connsiteY42" fmla="*/ 1321715 h 1686702"/>
                    <a:gd name="connsiteX43" fmla="*/ 2524234 w 2524234"/>
                    <a:gd name="connsiteY43" fmla="*/ 1222011 h 1686702"/>
                    <a:gd name="connsiteX44" fmla="*/ 2524234 w 2524234"/>
                    <a:gd name="connsiteY44" fmla="*/ 1218407 h 1686702"/>
                    <a:gd name="connsiteX45" fmla="*/ 2524234 w 2524234"/>
                    <a:gd name="connsiteY45" fmla="*/ 1106331 h 1686702"/>
                    <a:gd name="connsiteX46" fmla="*/ 2524234 w 2524234"/>
                    <a:gd name="connsiteY46" fmla="*/ 1100232 h 1686702"/>
                    <a:gd name="connsiteX47" fmla="*/ 2524234 w 2524234"/>
                    <a:gd name="connsiteY47" fmla="*/ 1001982 h 1686702"/>
                    <a:gd name="connsiteX48" fmla="*/ 2524234 w 2524234"/>
                    <a:gd name="connsiteY48" fmla="*/ 954171 h 1686702"/>
                    <a:gd name="connsiteX49" fmla="*/ 2524234 w 2524234"/>
                    <a:gd name="connsiteY49" fmla="*/ 905083 h 1686702"/>
                    <a:gd name="connsiteX50" fmla="*/ 2524234 w 2524234"/>
                    <a:gd name="connsiteY50" fmla="*/ 781619 h 1686702"/>
                    <a:gd name="connsiteX51" fmla="*/ 2524234 w 2524234"/>
                    <a:gd name="connsiteY51" fmla="*/ 732532 h 1686702"/>
                    <a:gd name="connsiteX52" fmla="*/ 2524234 w 2524234"/>
                    <a:gd name="connsiteY52" fmla="*/ 684720 h 1686702"/>
                    <a:gd name="connsiteX53" fmla="*/ 2524234 w 2524234"/>
                    <a:gd name="connsiteY53" fmla="*/ 586470 h 1686702"/>
                    <a:gd name="connsiteX54" fmla="*/ 2524234 w 2524234"/>
                    <a:gd name="connsiteY54" fmla="*/ 580371 h 1686702"/>
                    <a:gd name="connsiteX55" fmla="*/ 2524234 w 2524234"/>
                    <a:gd name="connsiteY55" fmla="*/ 468295 h 1686702"/>
                    <a:gd name="connsiteX56" fmla="*/ 2524234 w 2524234"/>
                    <a:gd name="connsiteY56" fmla="*/ 464691 h 1686702"/>
                    <a:gd name="connsiteX57" fmla="*/ 2524234 w 2524234"/>
                    <a:gd name="connsiteY57" fmla="*/ 364987 h 1686702"/>
                    <a:gd name="connsiteX58" fmla="*/ 2524234 w 2524234"/>
                    <a:gd name="connsiteY58" fmla="*/ 348218 h 1686702"/>
                    <a:gd name="connsiteX59" fmla="*/ 2524234 w 2524234"/>
                    <a:gd name="connsiteY59" fmla="*/ 285150 h 1686702"/>
                    <a:gd name="connsiteX60" fmla="*/ 2524234 w 2524234"/>
                    <a:gd name="connsiteY60" fmla="*/ 222972 h 1686702"/>
                    <a:gd name="connsiteX61" fmla="*/ 2524234 w 2524234"/>
                    <a:gd name="connsiteY61" fmla="*/ 219862 h 1686702"/>
                    <a:gd name="connsiteX62" fmla="*/ 2524234 w 2524234"/>
                    <a:gd name="connsiteY62" fmla="*/ 176247 h 1686702"/>
                    <a:gd name="connsiteX63" fmla="*/ 2524234 w 2524234"/>
                    <a:gd name="connsiteY63" fmla="*/ 96778 h 1686702"/>
                    <a:gd name="connsiteX64" fmla="*/ 2524234 w 2524234"/>
                    <a:gd name="connsiteY64" fmla="*/ 82953 h 1686702"/>
                    <a:gd name="connsiteX65" fmla="*/ 2427679 w 2524234"/>
                    <a:gd name="connsiteY65" fmla="*/ 0 h 1686702"/>
                    <a:gd name="connsiteX66" fmla="*/ 2423126 w 2524234"/>
                    <a:gd name="connsiteY66" fmla="*/ 0 h 1686702"/>
                    <a:gd name="connsiteX67" fmla="*/ 2412312 w 2524234"/>
                    <a:gd name="connsiteY67" fmla="*/ 0 h 1686702"/>
                    <a:gd name="connsiteX68" fmla="*/ 2391255 w 2524234"/>
                    <a:gd name="connsiteY68" fmla="*/ 0 h 1686702"/>
                    <a:gd name="connsiteX69" fmla="*/ 2356539 w 2524234"/>
                    <a:gd name="connsiteY69" fmla="*/ 0 h 1686702"/>
                    <a:gd name="connsiteX70" fmla="*/ 2330558 w 2524234"/>
                    <a:gd name="connsiteY70" fmla="*/ 0 h 1686702"/>
                    <a:gd name="connsiteX71" fmla="*/ 2304748 w 2524234"/>
                    <a:gd name="connsiteY71" fmla="*/ 0 h 1686702"/>
                    <a:gd name="connsiteX72" fmla="*/ 2245560 w 2524234"/>
                    <a:gd name="connsiteY72" fmla="*/ 0 h 1686702"/>
                    <a:gd name="connsiteX73" fmla="*/ 2232470 w 2524234"/>
                    <a:gd name="connsiteY73" fmla="*/ 0 h 1686702"/>
                    <a:gd name="connsiteX74" fmla="*/ 2171877 w 2524234"/>
                    <a:gd name="connsiteY74" fmla="*/ 0 h 1686702"/>
                    <a:gd name="connsiteX75" fmla="*/ 2136288 w 2524234"/>
                    <a:gd name="connsiteY75" fmla="*/ 0 h 1686702"/>
                    <a:gd name="connsiteX76" fmla="*/ 2108701 w 2524234"/>
                    <a:gd name="connsiteY76" fmla="*/ 0 h 1686702"/>
                    <a:gd name="connsiteX77" fmla="*/ 2012789 w 2524234"/>
                    <a:gd name="connsiteY77" fmla="*/ 0 h 1686702"/>
                    <a:gd name="connsiteX78" fmla="*/ 2010637 w 2524234"/>
                    <a:gd name="connsiteY78" fmla="*/ 0 h 1686702"/>
                    <a:gd name="connsiteX79" fmla="*/ 1875934 w 2524234"/>
                    <a:gd name="connsiteY79" fmla="*/ 0 h 1686702"/>
                    <a:gd name="connsiteX80" fmla="*/ 1858557 w 2524234"/>
                    <a:gd name="connsiteY80" fmla="*/ 0 h 1686702"/>
                    <a:gd name="connsiteX81" fmla="*/ 1670178 w 2524234"/>
                    <a:gd name="connsiteY81" fmla="*/ 0 h 1686702"/>
                    <a:gd name="connsiteX82" fmla="*/ 1444236 w 2524234"/>
                    <a:gd name="connsiteY82" fmla="*/ 0 h 1686702"/>
                    <a:gd name="connsiteX83" fmla="*/ 1177318 w 2524234"/>
                    <a:gd name="connsiteY83" fmla="*/ 0 h 1686702"/>
                    <a:gd name="connsiteX84" fmla="*/ 1027426 w 2524234"/>
                    <a:gd name="connsiteY84" fmla="*/ 0 h 1686702"/>
                    <a:gd name="connsiteX85" fmla="*/ 866008 w 2524234"/>
                    <a:gd name="connsiteY85" fmla="*/ 0 h 1686702"/>
                    <a:gd name="connsiteX86" fmla="*/ 692640 w 2524234"/>
                    <a:gd name="connsiteY86" fmla="*/ 0 h 1686702"/>
                    <a:gd name="connsiteX87" fmla="*/ 648301 w 2524234"/>
                    <a:gd name="connsiteY87" fmla="*/ 0 h 1686702"/>
                    <a:gd name="connsiteX88" fmla="*/ 551180 w 2524234"/>
                    <a:gd name="connsiteY88" fmla="*/ 0 h 1686702"/>
                    <a:gd name="connsiteX89" fmla="*/ 506892 w 2524234"/>
                    <a:gd name="connsiteY89" fmla="*/ 0 h 1686702"/>
                    <a:gd name="connsiteX90" fmla="*/ 466182 w 2524234"/>
                    <a:gd name="connsiteY90" fmla="*/ 0 h 1686702"/>
                    <a:gd name="connsiteX91" fmla="*/ 329323 w 2524234"/>
                    <a:gd name="connsiteY91" fmla="*/ 0 h 1686702"/>
                    <a:gd name="connsiteX92" fmla="*/ 308340 w 2524234"/>
                    <a:gd name="connsiteY92" fmla="*/ 0 h 1686702"/>
                    <a:gd name="connsiteX93" fmla="*/ 231259 w 2524234"/>
                    <a:gd name="connsiteY93" fmla="*/ 0 h 1686702"/>
                    <a:gd name="connsiteX94" fmla="*/ 96556 w 2524234"/>
                    <a:gd name="connsiteY94" fmla="*/ 0 h 1686702"/>
                    <a:gd name="connsiteX95" fmla="*/ 0 w 2524234"/>
                    <a:gd name="connsiteY95" fmla="*/ 82953 h 1686702"/>
                    <a:gd name="connsiteX96" fmla="*/ 0 w 2524234"/>
                    <a:gd name="connsiteY96" fmla="*/ 92886 h 1686702"/>
                    <a:gd name="connsiteX97" fmla="*/ 0 w 2524234"/>
                    <a:gd name="connsiteY97" fmla="*/ 96778 h 1686702"/>
                    <a:gd name="connsiteX98" fmla="*/ 0 w 2524234"/>
                    <a:gd name="connsiteY98" fmla="*/ 106499 h 1686702"/>
                    <a:gd name="connsiteX99" fmla="*/ 0 w 2524234"/>
                    <a:gd name="connsiteY99" fmla="*/ 128942 h 1686702"/>
                    <a:gd name="connsiteX100" fmla="*/ 0 w 2524234"/>
                    <a:gd name="connsiteY100" fmla="*/ 162422 h 1686702"/>
                    <a:gd name="connsiteX101" fmla="*/ 0 w 2524234"/>
                    <a:gd name="connsiteY101" fmla="*/ 209147 h 1686702"/>
                    <a:gd name="connsiteX102" fmla="*/ 0 w 2524234"/>
                    <a:gd name="connsiteY102" fmla="*/ 233688 h 1686702"/>
                    <a:gd name="connsiteX103" fmla="*/ 0 w 2524234"/>
                    <a:gd name="connsiteY103" fmla="*/ 271324 h 1686702"/>
                    <a:gd name="connsiteX104" fmla="*/ 0 w 2524234"/>
                    <a:gd name="connsiteY104" fmla="*/ 351161 h 1686702"/>
                    <a:gd name="connsiteX105" fmla="*/ 0 w 2524234"/>
                    <a:gd name="connsiteY105" fmla="*/ 362043 h 1686702"/>
                    <a:gd name="connsiteX106" fmla="*/ 0 w 2524234"/>
                    <a:gd name="connsiteY106" fmla="*/ 450866 h 1686702"/>
                    <a:gd name="connsiteX107" fmla="*/ 0 w 2524234"/>
                    <a:gd name="connsiteY107" fmla="*/ 482121 h 1686702"/>
                    <a:gd name="connsiteX108" fmla="*/ 0 w 2524234"/>
                    <a:gd name="connsiteY108" fmla="*/ 572645 h 1686702"/>
                    <a:gd name="connsiteX109" fmla="*/ 0 w 2524234"/>
                    <a:gd name="connsiteY109" fmla="*/ 594196 h 1686702"/>
                    <a:gd name="connsiteX110" fmla="*/ 0 w 2524234"/>
                    <a:gd name="connsiteY110" fmla="*/ 698546 h 1686702"/>
                    <a:gd name="connsiteX111" fmla="*/ 0 w 2524234"/>
                    <a:gd name="connsiteY111" fmla="*/ 718706 h 1686702"/>
                    <a:gd name="connsiteX112" fmla="*/ 0 w 2524234"/>
                    <a:gd name="connsiteY112" fmla="*/ 795445 h 1686702"/>
                    <a:gd name="connsiteX113" fmla="*/ 0 w 2524234"/>
                    <a:gd name="connsiteY113" fmla="*/ 891257 h 1686702"/>
                    <a:gd name="connsiteX114" fmla="*/ 0 w 2524234"/>
                    <a:gd name="connsiteY114" fmla="*/ 967996 h 1686702"/>
                    <a:gd name="connsiteX115" fmla="*/ 0 w 2524234"/>
                    <a:gd name="connsiteY115" fmla="*/ 988156 h 1686702"/>
                    <a:gd name="connsiteX116" fmla="*/ 0 w 2524234"/>
                    <a:gd name="connsiteY116" fmla="*/ 1092506 h 1686702"/>
                    <a:gd name="connsiteX117" fmla="*/ 0 w 2524234"/>
                    <a:gd name="connsiteY117" fmla="*/ 1114057 h 1686702"/>
                    <a:gd name="connsiteX118" fmla="*/ 0 w 2524234"/>
                    <a:gd name="connsiteY118" fmla="*/ 1204581 h 1686702"/>
                    <a:gd name="connsiteX119" fmla="*/ 0 w 2524234"/>
                    <a:gd name="connsiteY119" fmla="*/ 1235837 h 1686702"/>
                    <a:gd name="connsiteX120" fmla="*/ 0 w 2524234"/>
                    <a:gd name="connsiteY120" fmla="*/ 1324659 h 1686702"/>
                    <a:gd name="connsiteX121" fmla="*/ 0 w 2524234"/>
                    <a:gd name="connsiteY121" fmla="*/ 1335541 h 1686702"/>
                    <a:gd name="connsiteX122" fmla="*/ 0 w 2524234"/>
                    <a:gd name="connsiteY122" fmla="*/ 1415378 h 1686702"/>
                    <a:gd name="connsiteX123" fmla="*/ 0 w 2524234"/>
                    <a:gd name="connsiteY123" fmla="*/ 1453014 h 1686702"/>
                    <a:gd name="connsiteX124" fmla="*/ 0 w 2524234"/>
                    <a:gd name="connsiteY124" fmla="*/ 1477555 h 1686702"/>
                    <a:gd name="connsiteX125" fmla="*/ 0 w 2524234"/>
                    <a:gd name="connsiteY125" fmla="*/ 1580203 h 1686702"/>
                    <a:gd name="connsiteX126" fmla="*/ 0 w 2524234"/>
                    <a:gd name="connsiteY126" fmla="*/ 1589924 h 1686702"/>
                    <a:gd name="connsiteX127" fmla="*/ 0 w 2524234"/>
                    <a:gd name="connsiteY127" fmla="*/ 1593816 h 1686702"/>
                    <a:gd name="connsiteX128" fmla="*/ 0 w 2524234"/>
                    <a:gd name="connsiteY128" fmla="*/ 1603750 h 1686702"/>
                    <a:gd name="connsiteX129" fmla="*/ 96556 w 2524234"/>
                    <a:gd name="connsiteY129" fmla="*/ 1686702 h 16867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</a:cxnLst>
                  <a:rect l="l" t="t" r="r" b="b"/>
                  <a:pathLst>
                    <a:path w="2524234" h="1686702">
                      <a:moveTo>
                        <a:pt x="96556" y="1686702"/>
                      </a:moveTo>
                      <a:lnTo>
                        <a:pt x="97633" y="1686702"/>
                      </a:lnTo>
                      <a:lnTo>
                        <a:pt x="105177" y="1686702"/>
                      </a:lnTo>
                      <a:lnTo>
                        <a:pt x="125652" y="1686702"/>
                      </a:lnTo>
                      <a:lnTo>
                        <a:pt x="165524" y="1686702"/>
                      </a:lnTo>
                      <a:lnTo>
                        <a:pt x="231259" y="1686702"/>
                      </a:lnTo>
                      <a:lnTo>
                        <a:pt x="308340" y="1686702"/>
                      </a:lnTo>
                      <a:lnTo>
                        <a:pt x="329323" y="1686702"/>
                      </a:lnTo>
                      <a:lnTo>
                        <a:pt x="392499" y="1686702"/>
                      </a:lnTo>
                      <a:lnTo>
                        <a:pt x="466182" y="1686702"/>
                      </a:lnTo>
                      <a:lnTo>
                        <a:pt x="506892" y="1686702"/>
                      </a:lnTo>
                      <a:lnTo>
                        <a:pt x="551180" y="1686702"/>
                      </a:lnTo>
                      <a:lnTo>
                        <a:pt x="648301" y="1686702"/>
                      </a:lnTo>
                      <a:lnTo>
                        <a:pt x="692640" y="1686702"/>
                      </a:lnTo>
                      <a:cubicBezTo>
                        <a:pt x="1231100" y="1686702"/>
                        <a:pt x="1602452" y="1686702"/>
                        <a:pt x="1858557" y="1686702"/>
                      </a:cubicBezTo>
                      <a:lnTo>
                        <a:pt x="1875934" y="1686702"/>
                      </a:lnTo>
                      <a:lnTo>
                        <a:pt x="1877011" y="1686702"/>
                      </a:lnTo>
                      <a:lnTo>
                        <a:pt x="1884555" y="1686702"/>
                      </a:lnTo>
                      <a:lnTo>
                        <a:pt x="1905030" y="1686702"/>
                      </a:lnTo>
                      <a:lnTo>
                        <a:pt x="1944902" y="1686702"/>
                      </a:lnTo>
                      <a:lnTo>
                        <a:pt x="2010637" y="1686702"/>
                      </a:lnTo>
                      <a:lnTo>
                        <a:pt x="2012789" y="1686702"/>
                      </a:lnTo>
                      <a:lnTo>
                        <a:pt x="2108701" y="1686702"/>
                      </a:lnTo>
                      <a:lnTo>
                        <a:pt x="2136288" y="1686702"/>
                      </a:lnTo>
                      <a:lnTo>
                        <a:pt x="2171877" y="1686702"/>
                      </a:lnTo>
                      <a:lnTo>
                        <a:pt x="2232470" y="1686702"/>
                      </a:lnTo>
                      <a:lnTo>
                        <a:pt x="2245560" y="1686702"/>
                      </a:lnTo>
                      <a:lnTo>
                        <a:pt x="2304748" y="1686702"/>
                      </a:lnTo>
                      <a:lnTo>
                        <a:pt x="2330558" y="1686702"/>
                      </a:lnTo>
                      <a:lnTo>
                        <a:pt x="2356539" y="1686702"/>
                      </a:lnTo>
                      <a:cubicBezTo>
                        <a:pt x="2427679" y="1686702"/>
                        <a:pt x="2427679" y="1686702"/>
                        <a:pt x="2427679" y="1686702"/>
                      </a:cubicBezTo>
                      <a:cubicBezTo>
                        <a:pt x="2482853" y="1686702"/>
                        <a:pt x="2524234" y="1645226"/>
                        <a:pt x="2524234" y="1603750"/>
                      </a:cubicBezTo>
                      <a:lnTo>
                        <a:pt x="2524234" y="1589924"/>
                      </a:lnTo>
                      <a:lnTo>
                        <a:pt x="2524234" y="1586981"/>
                      </a:lnTo>
                      <a:lnTo>
                        <a:pt x="2524234" y="1579990"/>
                      </a:lnTo>
                      <a:lnTo>
                        <a:pt x="2524234" y="1566378"/>
                      </a:lnTo>
                      <a:lnTo>
                        <a:pt x="2524234" y="1543935"/>
                      </a:lnTo>
                      <a:lnTo>
                        <a:pt x="2524234" y="1510455"/>
                      </a:lnTo>
                      <a:lnTo>
                        <a:pt x="2524234" y="1466840"/>
                      </a:lnTo>
                      <a:lnTo>
                        <a:pt x="2524234" y="1463730"/>
                      </a:lnTo>
                      <a:lnTo>
                        <a:pt x="2524234" y="1401553"/>
                      </a:lnTo>
                      <a:lnTo>
                        <a:pt x="2524234" y="1338484"/>
                      </a:lnTo>
                      <a:lnTo>
                        <a:pt x="2524234" y="1321715"/>
                      </a:lnTo>
                      <a:lnTo>
                        <a:pt x="2524234" y="1222011"/>
                      </a:lnTo>
                      <a:lnTo>
                        <a:pt x="2524234" y="1218407"/>
                      </a:lnTo>
                      <a:cubicBezTo>
                        <a:pt x="2524234" y="1179730"/>
                        <a:pt x="2524234" y="1142387"/>
                        <a:pt x="2524234" y="1106331"/>
                      </a:cubicBezTo>
                      <a:lnTo>
                        <a:pt x="2524234" y="1100232"/>
                      </a:lnTo>
                      <a:lnTo>
                        <a:pt x="2524234" y="1001982"/>
                      </a:lnTo>
                      <a:lnTo>
                        <a:pt x="2524234" y="954171"/>
                      </a:lnTo>
                      <a:lnTo>
                        <a:pt x="2524234" y="905083"/>
                      </a:lnTo>
                      <a:lnTo>
                        <a:pt x="2524234" y="781619"/>
                      </a:lnTo>
                      <a:lnTo>
                        <a:pt x="2524234" y="732532"/>
                      </a:lnTo>
                      <a:lnTo>
                        <a:pt x="2524234" y="684720"/>
                      </a:lnTo>
                      <a:lnTo>
                        <a:pt x="2524234" y="586470"/>
                      </a:lnTo>
                      <a:lnTo>
                        <a:pt x="2524234" y="580371"/>
                      </a:lnTo>
                      <a:lnTo>
                        <a:pt x="2524234" y="468295"/>
                      </a:lnTo>
                      <a:lnTo>
                        <a:pt x="2524234" y="464691"/>
                      </a:lnTo>
                      <a:cubicBezTo>
                        <a:pt x="2524234" y="427900"/>
                        <a:pt x="2524234" y="394788"/>
                        <a:pt x="2524234" y="364987"/>
                      </a:cubicBezTo>
                      <a:lnTo>
                        <a:pt x="2524234" y="348218"/>
                      </a:lnTo>
                      <a:lnTo>
                        <a:pt x="2524234" y="285150"/>
                      </a:lnTo>
                      <a:cubicBezTo>
                        <a:pt x="2524234" y="261603"/>
                        <a:pt x="2524234" y="241000"/>
                        <a:pt x="2524234" y="222972"/>
                      </a:cubicBezTo>
                      <a:lnTo>
                        <a:pt x="2524234" y="219862"/>
                      </a:lnTo>
                      <a:lnTo>
                        <a:pt x="2524234" y="176247"/>
                      </a:lnTo>
                      <a:cubicBezTo>
                        <a:pt x="2524234" y="96778"/>
                        <a:pt x="2524234" y="96778"/>
                        <a:pt x="2524234" y="96778"/>
                      </a:cubicBezTo>
                      <a:lnTo>
                        <a:pt x="2524234" y="82953"/>
                      </a:lnTo>
                      <a:cubicBezTo>
                        <a:pt x="2524234" y="41476"/>
                        <a:pt x="2482853" y="0"/>
                        <a:pt x="2427679" y="0"/>
                      </a:cubicBezTo>
                      <a:lnTo>
                        <a:pt x="2423126" y="0"/>
                      </a:lnTo>
                      <a:lnTo>
                        <a:pt x="2412312" y="0"/>
                      </a:lnTo>
                      <a:lnTo>
                        <a:pt x="2391255" y="0"/>
                      </a:lnTo>
                      <a:lnTo>
                        <a:pt x="2356539" y="0"/>
                      </a:lnTo>
                      <a:lnTo>
                        <a:pt x="2330558" y="0"/>
                      </a:lnTo>
                      <a:lnTo>
                        <a:pt x="2304748" y="0"/>
                      </a:lnTo>
                      <a:lnTo>
                        <a:pt x="2245560" y="0"/>
                      </a:lnTo>
                      <a:lnTo>
                        <a:pt x="2232470" y="0"/>
                      </a:lnTo>
                      <a:lnTo>
                        <a:pt x="2171877" y="0"/>
                      </a:lnTo>
                      <a:lnTo>
                        <a:pt x="2136288" y="0"/>
                      </a:lnTo>
                      <a:lnTo>
                        <a:pt x="2108701" y="0"/>
                      </a:lnTo>
                      <a:lnTo>
                        <a:pt x="2012789" y="0"/>
                      </a:lnTo>
                      <a:lnTo>
                        <a:pt x="2010637" y="0"/>
                      </a:lnTo>
                      <a:cubicBezTo>
                        <a:pt x="1875934" y="0"/>
                        <a:pt x="1875934" y="0"/>
                        <a:pt x="1875934" y="0"/>
                      </a:cubicBezTo>
                      <a:lnTo>
                        <a:pt x="1858557" y="0"/>
                      </a:lnTo>
                      <a:lnTo>
                        <a:pt x="1670178" y="0"/>
                      </a:lnTo>
                      <a:lnTo>
                        <a:pt x="1444236" y="0"/>
                      </a:lnTo>
                      <a:lnTo>
                        <a:pt x="1177318" y="0"/>
                      </a:lnTo>
                      <a:lnTo>
                        <a:pt x="1027426" y="0"/>
                      </a:lnTo>
                      <a:lnTo>
                        <a:pt x="866008" y="0"/>
                      </a:lnTo>
                      <a:lnTo>
                        <a:pt x="692640" y="0"/>
                      </a:lnTo>
                      <a:lnTo>
                        <a:pt x="648301" y="0"/>
                      </a:lnTo>
                      <a:cubicBezTo>
                        <a:pt x="613817" y="0"/>
                        <a:pt x="581488" y="0"/>
                        <a:pt x="551180" y="0"/>
                      </a:cubicBezTo>
                      <a:lnTo>
                        <a:pt x="506892" y="0"/>
                      </a:lnTo>
                      <a:lnTo>
                        <a:pt x="466182" y="0"/>
                      </a:lnTo>
                      <a:cubicBezTo>
                        <a:pt x="413378" y="0"/>
                        <a:pt x="368118" y="0"/>
                        <a:pt x="329323" y="0"/>
                      </a:cubicBezTo>
                      <a:lnTo>
                        <a:pt x="308340" y="0"/>
                      </a:lnTo>
                      <a:lnTo>
                        <a:pt x="231259" y="0"/>
                      </a:lnTo>
                      <a:cubicBezTo>
                        <a:pt x="96556" y="0"/>
                        <a:pt x="96556" y="0"/>
                        <a:pt x="96556" y="0"/>
                      </a:cubicBezTo>
                      <a:cubicBezTo>
                        <a:pt x="41381" y="0"/>
                        <a:pt x="0" y="41476"/>
                        <a:pt x="0" y="82953"/>
                      </a:cubicBezTo>
                      <a:cubicBezTo>
                        <a:pt x="0" y="82953"/>
                        <a:pt x="0" y="82953"/>
                        <a:pt x="0" y="92886"/>
                      </a:cubicBezTo>
                      <a:lnTo>
                        <a:pt x="0" y="96778"/>
                      </a:lnTo>
                      <a:lnTo>
                        <a:pt x="0" y="106499"/>
                      </a:lnTo>
                      <a:lnTo>
                        <a:pt x="0" y="128942"/>
                      </a:lnTo>
                      <a:lnTo>
                        <a:pt x="0" y="162422"/>
                      </a:lnTo>
                      <a:lnTo>
                        <a:pt x="0" y="209147"/>
                      </a:lnTo>
                      <a:lnTo>
                        <a:pt x="0" y="233688"/>
                      </a:lnTo>
                      <a:lnTo>
                        <a:pt x="0" y="271324"/>
                      </a:lnTo>
                      <a:lnTo>
                        <a:pt x="0" y="351161"/>
                      </a:lnTo>
                      <a:lnTo>
                        <a:pt x="0" y="362043"/>
                      </a:lnTo>
                      <a:lnTo>
                        <a:pt x="0" y="450866"/>
                      </a:lnTo>
                      <a:lnTo>
                        <a:pt x="0" y="482121"/>
                      </a:lnTo>
                      <a:lnTo>
                        <a:pt x="0" y="572645"/>
                      </a:lnTo>
                      <a:lnTo>
                        <a:pt x="0" y="594196"/>
                      </a:lnTo>
                      <a:cubicBezTo>
                        <a:pt x="0" y="630252"/>
                        <a:pt x="0" y="665020"/>
                        <a:pt x="0" y="698546"/>
                      </a:cubicBezTo>
                      <a:lnTo>
                        <a:pt x="0" y="718706"/>
                      </a:lnTo>
                      <a:lnTo>
                        <a:pt x="0" y="795445"/>
                      </a:lnTo>
                      <a:lnTo>
                        <a:pt x="0" y="891257"/>
                      </a:lnTo>
                      <a:lnTo>
                        <a:pt x="0" y="967996"/>
                      </a:lnTo>
                      <a:lnTo>
                        <a:pt x="0" y="988156"/>
                      </a:lnTo>
                      <a:lnTo>
                        <a:pt x="0" y="1092506"/>
                      </a:lnTo>
                      <a:lnTo>
                        <a:pt x="0" y="1114057"/>
                      </a:lnTo>
                      <a:lnTo>
                        <a:pt x="0" y="1204581"/>
                      </a:lnTo>
                      <a:lnTo>
                        <a:pt x="0" y="1235837"/>
                      </a:lnTo>
                      <a:lnTo>
                        <a:pt x="0" y="1324659"/>
                      </a:lnTo>
                      <a:lnTo>
                        <a:pt x="0" y="1335541"/>
                      </a:lnTo>
                      <a:cubicBezTo>
                        <a:pt x="0" y="1365342"/>
                        <a:pt x="0" y="1391832"/>
                        <a:pt x="0" y="1415378"/>
                      </a:cubicBezTo>
                      <a:lnTo>
                        <a:pt x="0" y="1453014"/>
                      </a:lnTo>
                      <a:lnTo>
                        <a:pt x="0" y="1477555"/>
                      </a:lnTo>
                      <a:cubicBezTo>
                        <a:pt x="0" y="1531639"/>
                        <a:pt x="0" y="1562543"/>
                        <a:pt x="0" y="1580203"/>
                      </a:cubicBezTo>
                      <a:lnTo>
                        <a:pt x="0" y="1589924"/>
                      </a:lnTo>
                      <a:lnTo>
                        <a:pt x="0" y="1593816"/>
                      </a:lnTo>
                      <a:cubicBezTo>
                        <a:pt x="0" y="1603750"/>
                        <a:pt x="0" y="1603750"/>
                        <a:pt x="0" y="1603750"/>
                      </a:cubicBezTo>
                      <a:cubicBezTo>
                        <a:pt x="0" y="1645226"/>
                        <a:pt x="41381" y="1686702"/>
                        <a:pt x="96556" y="1686702"/>
                      </a:cubicBezTo>
                      <a:close/>
                    </a:path>
                  </a:pathLst>
                </a:custGeom>
                <a:noFill/>
                <a:ln w="9525" cap="flat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GB" dirty="0"/>
                </a:p>
              </p:txBody>
            </p:sp>
            <p:grpSp>
              <p:nvGrpSpPr>
                <p:cNvPr id="284" name="Gruppieren 283">
                  <a:extLst>
                    <a:ext uri="{FF2B5EF4-FFF2-40B4-BE49-F238E27FC236}">
                      <a16:creationId xmlns:a16="http://schemas.microsoft.com/office/drawing/2014/main" id="{05048F10-43F4-6C03-FA4B-BE091B3ADBDC}"/>
                    </a:ext>
                  </a:extLst>
                </p:cNvPr>
                <p:cNvGrpSpPr/>
                <p:nvPr/>
              </p:nvGrpSpPr>
              <p:grpSpPr>
                <a:xfrm>
                  <a:off x="6494466" y="1196987"/>
                  <a:ext cx="372548" cy="402744"/>
                  <a:chOff x="3800021" y="2196690"/>
                  <a:chExt cx="1970092" cy="2129785"/>
                </a:xfrm>
              </p:grpSpPr>
              <p:sp>
                <p:nvSpPr>
                  <p:cNvPr id="285" name="Ellipse 284">
                    <a:extLst>
                      <a:ext uri="{FF2B5EF4-FFF2-40B4-BE49-F238E27FC236}">
                        <a16:creationId xmlns:a16="http://schemas.microsoft.com/office/drawing/2014/main" id="{93A76BE7-BD1D-FF9B-8D74-749F30AB1CB6}"/>
                      </a:ext>
                    </a:extLst>
                  </p:cNvPr>
                  <p:cNvSpPr/>
                  <p:nvPr/>
                </p:nvSpPr>
                <p:spPr>
                  <a:xfrm>
                    <a:off x="4228033" y="2196690"/>
                    <a:ext cx="1114060" cy="1114059"/>
                  </a:xfrm>
                  <a:prstGeom prst="ellipse">
                    <a:avLst/>
                  </a:prstGeom>
                  <a:noFill/>
                  <a:ln w="9525" cap="flat" cmpd="sng" algn="ctr">
                    <a:solidFill>
                      <a:schemeClr val="accent6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286" name="Freihandform: Form 285">
                    <a:extLst>
                      <a:ext uri="{FF2B5EF4-FFF2-40B4-BE49-F238E27FC236}">
                        <a16:creationId xmlns:a16="http://schemas.microsoft.com/office/drawing/2014/main" id="{A379F29B-2AF3-310A-789D-57DE2BBCBBA2}"/>
                      </a:ext>
                    </a:extLst>
                  </p:cNvPr>
                  <p:cNvSpPr/>
                  <p:nvPr/>
                </p:nvSpPr>
                <p:spPr>
                  <a:xfrm>
                    <a:off x="3800021" y="3533651"/>
                    <a:ext cx="1970092" cy="792824"/>
                  </a:xfrm>
                  <a:custGeom>
                    <a:avLst/>
                    <a:gdLst>
                      <a:gd name="connsiteX0" fmla="*/ 0 w 428625"/>
                      <a:gd name="connsiteY0" fmla="*/ 130969 h 135731"/>
                      <a:gd name="connsiteX1" fmla="*/ 216694 w 428625"/>
                      <a:gd name="connsiteY1" fmla="*/ 0 h 135731"/>
                      <a:gd name="connsiteX2" fmla="*/ 428625 w 428625"/>
                      <a:gd name="connsiteY2" fmla="*/ 95250 h 135731"/>
                      <a:gd name="connsiteX3" fmla="*/ 428625 w 428625"/>
                      <a:gd name="connsiteY3" fmla="*/ 135731 h 135731"/>
                      <a:gd name="connsiteX0" fmla="*/ 0 w 428625"/>
                      <a:gd name="connsiteY0" fmla="*/ 130969 h 135731"/>
                      <a:gd name="connsiteX1" fmla="*/ 37277 w 428625"/>
                      <a:gd name="connsiteY1" fmla="*/ 106660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130969 h 135731"/>
                      <a:gd name="connsiteX1" fmla="*/ 342 w 428625"/>
                      <a:gd name="connsiteY1" fmla="*/ 94348 h 135731"/>
                      <a:gd name="connsiteX2" fmla="*/ 216694 w 428625"/>
                      <a:gd name="connsiteY2" fmla="*/ 0 h 135731"/>
                      <a:gd name="connsiteX3" fmla="*/ 428625 w 428625"/>
                      <a:gd name="connsiteY3" fmla="*/ 95250 h 135731"/>
                      <a:gd name="connsiteX4" fmla="*/ 428625 w 428625"/>
                      <a:gd name="connsiteY4" fmla="*/ 135731 h 135731"/>
                      <a:gd name="connsiteX0" fmla="*/ 0 w 428625"/>
                      <a:gd name="connsiteY0" fmla="*/ 40995 h 45757"/>
                      <a:gd name="connsiteX1" fmla="*/ 342 w 428625"/>
                      <a:gd name="connsiteY1" fmla="*/ 4374 h 45757"/>
                      <a:gd name="connsiteX2" fmla="*/ 428625 w 428625"/>
                      <a:gd name="connsiteY2" fmla="*/ 5276 h 45757"/>
                      <a:gd name="connsiteX3" fmla="*/ 428625 w 428625"/>
                      <a:gd name="connsiteY3" fmla="*/ 45757 h 45757"/>
                      <a:gd name="connsiteX0" fmla="*/ 0 w 428625"/>
                      <a:gd name="connsiteY0" fmla="*/ 93270 h 98032"/>
                      <a:gd name="connsiteX1" fmla="*/ 342 w 428625"/>
                      <a:gd name="connsiteY1" fmla="*/ 56649 h 98032"/>
                      <a:gd name="connsiteX2" fmla="*/ 428625 w 428625"/>
                      <a:gd name="connsiteY2" fmla="*/ 57551 h 98032"/>
                      <a:gd name="connsiteX3" fmla="*/ 428625 w 428625"/>
                      <a:gd name="connsiteY3" fmla="*/ 98032 h 98032"/>
                      <a:gd name="connsiteX0" fmla="*/ 0 w 428625"/>
                      <a:gd name="connsiteY0" fmla="*/ 125682 h 130444"/>
                      <a:gd name="connsiteX1" fmla="*/ 342 w 428625"/>
                      <a:gd name="connsiteY1" fmla="*/ 89061 h 130444"/>
                      <a:gd name="connsiteX2" fmla="*/ 428625 w 428625"/>
                      <a:gd name="connsiteY2" fmla="*/ 89963 h 130444"/>
                      <a:gd name="connsiteX3" fmla="*/ 428625 w 428625"/>
                      <a:gd name="connsiteY3" fmla="*/ 130444 h 130444"/>
                      <a:gd name="connsiteX0" fmla="*/ 0 w 428625"/>
                      <a:gd name="connsiteY0" fmla="*/ 123335 h 128097"/>
                      <a:gd name="connsiteX1" fmla="*/ 342 w 428625"/>
                      <a:gd name="connsiteY1" fmla="*/ 86714 h 128097"/>
                      <a:gd name="connsiteX2" fmla="*/ 428625 w 428625"/>
                      <a:gd name="connsiteY2" fmla="*/ 87616 h 128097"/>
                      <a:gd name="connsiteX3" fmla="*/ 428625 w 428625"/>
                      <a:gd name="connsiteY3" fmla="*/ 128097 h 1280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28625" h="128097">
                        <a:moveTo>
                          <a:pt x="0" y="123335"/>
                        </a:moveTo>
                        <a:lnTo>
                          <a:pt x="342" y="86714"/>
                        </a:lnTo>
                        <a:cubicBezTo>
                          <a:pt x="79987" y="-25940"/>
                          <a:pt x="343907" y="-32138"/>
                          <a:pt x="428625" y="87616"/>
                        </a:cubicBezTo>
                        <a:lnTo>
                          <a:pt x="428625" y="128097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accent6"/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4572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p:grpSp>
          </p:grpSp>
        </p:grpSp>
        <p:sp>
          <p:nvSpPr>
            <p:cNvPr id="181" name="Textplatzhalter 2">
              <a:extLst>
                <a:ext uri="{FF2B5EF4-FFF2-40B4-BE49-F238E27FC236}">
                  <a16:creationId xmlns:a16="http://schemas.microsoft.com/office/drawing/2014/main" id="{37E8E000-DF15-43F9-CE80-FE0FFF6A6E6B}"/>
                </a:ext>
              </a:extLst>
            </p:cNvPr>
            <p:cNvSpPr txBox="1">
              <a:spLocks/>
            </p:cNvSpPr>
            <p:nvPr/>
          </p:nvSpPr>
          <p:spPr>
            <a:xfrm>
              <a:off x="3826561" y="3068969"/>
              <a:ext cx="2085507" cy="4924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44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Wingdings" pitchFamily="2" charset="2"/>
                <a:buChar char="§"/>
                <a:tabLst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88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2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76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44000" algn="l" defTabSz="987128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3846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08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dirty="0">
                  <a:solidFill>
                    <a:schemeClr val="accent6"/>
                  </a:solidFill>
                  <a:latin typeface="Arial"/>
                  <a:cs typeface="+mn-cs"/>
                </a:rPr>
                <a:t>32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online invigilators</a:t>
              </a:r>
            </a:p>
            <a:p>
              <a:pPr marL="0" marR="0" lvl="0" indent="0" algn="ctr" defTabSz="9141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 support team (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lang="en-GB" sz="1600" dirty="0">
                  <a:solidFill>
                    <a:schemeClr val="accent6"/>
                  </a:solidFill>
                  <a:latin typeface="Arial"/>
                  <a:cs typeface="+mn-cs"/>
                </a:rPr>
                <a:t>2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members)</a:t>
              </a:r>
            </a:p>
          </p:txBody>
        </p:sp>
      </p:grpSp>
      <p:grpSp>
        <p:nvGrpSpPr>
          <p:cNvPr id="341" name="Gruppieren 340">
            <a:extLst>
              <a:ext uri="{FF2B5EF4-FFF2-40B4-BE49-F238E27FC236}">
                <a16:creationId xmlns:a16="http://schemas.microsoft.com/office/drawing/2014/main" id="{FFB77D36-0F76-BE68-8073-EBAB08E749FF}"/>
              </a:ext>
            </a:extLst>
          </p:cNvPr>
          <p:cNvGrpSpPr/>
          <p:nvPr/>
        </p:nvGrpSpPr>
        <p:grpSpPr>
          <a:xfrm>
            <a:off x="746869" y="1362362"/>
            <a:ext cx="2019784" cy="1125868"/>
            <a:chOff x="746869" y="1362362"/>
            <a:chExt cx="2019784" cy="1125868"/>
          </a:xfrm>
        </p:grpSpPr>
        <p:grpSp>
          <p:nvGrpSpPr>
            <p:cNvPr id="332" name="Gruppieren 331">
              <a:extLst>
                <a:ext uri="{FF2B5EF4-FFF2-40B4-BE49-F238E27FC236}">
                  <a16:creationId xmlns:a16="http://schemas.microsoft.com/office/drawing/2014/main" id="{5CB850CF-8B3D-8F46-CF2B-9A4FD2BC7C3A}"/>
                </a:ext>
              </a:extLst>
            </p:cNvPr>
            <p:cNvGrpSpPr/>
            <p:nvPr/>
          </p:nvGrpSpPr>
          <p:grpSpPr>
            <a:xfrm>
              <a:off x="1428767" y="1362362"/>
              <a:ext cx="655988" cy="655988"/>
              <a:chOff x="1428765" y="1362362"/>
              <a:chExt cx="655988" cy="655988"/>
            </a:xfrm>
          </p:grpSpPr>
          <p:sp>
            <p:nvSpPr>
              <p:cNvPr id="194" name="Ellipse 301">
                <a:extLst>
                  <a:ext uri="{FF2B5EF4-FFF2-40B4-BE49-F238E27FC236}">
                    <a16:creationId xmlns:a16="http://schemas.microsoft.com/office/drawing/2014/main" id="{341ECD73-5486-3D7C-9CB8-D9DFB660B66F}"/>
                  </a:ext>
                </a:extLst>
              </p:cNvPr>
              <p:cNvSpPr/>
              <p:nvPr/>
            </p:nvSpPr>
            <p:spPr>
              <a:xfrm>
                <a:off x="1428765" y="1362362"/>
                <a:ext cx="655988" cy="65598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/>
                <a:endParaRPr lang="en-GB" dirty="0">
                  <a:solidFill>
                    <a:schemeClr val="tx1"/>
                  </a:solidFill>
                  <a:latin typeface="Arial"/>
                </a:endParaRPr>
              </a:p>
            </p:txBody>
          </p:sp>
          <p:grpSp>
            <p:nvGrpSpPr>
              <p:cNvPr id="207" name="Gruppieren 206">
                <a:extLst>
                  <a:ext uri="{FF2B5EF4-FFF2-40B4-BE49-F238E27FC236}">
                    <a16:creationId xmlns:a16="http://schemas.microsoft.com/office/drawing/2014/main" id="{57CFCF4F-C400-E8A7-45C9-1B7D8ED0A453}"/>
                  </a:ext>
                </a:extLst>
              </p:cNvPr>
              <p:cNvGrpSpPr/>
              <p:nvPr/>
            </p:nvGrpSpPr>
            <p:grpSpPr>
              <a:xfrm>
                <a:off x="1546985" y="1489887"/>
                <a:ext cx="419548" cy="400938"/>
                <a:chOff x="3339348" y="3645084"/>
                <a:chExt cx="393533" cy="376075"/>
              </a:xfrm>
            </p:grpSpPr>
            <p:sp>
              <p:nvSpPr>
                <p:cNvPr id="208" name="Freihandform: Form 207">
                  <a:extLst>
                    <a:ext uri="{FF2B5EF4-FFF2-40B4-BE49-F238E27FC236}">
                      <a16:creationId xmlns:a16="http://schemas.microsoft.com/office/drawing/2014/main" id="{996CC0F4-F8CF-44A6-EFBA-AC1E082CB6B6}"/>
                    </a:ext>
                  </a:extLst>
                </p:cNvPr>
                <p:cNvSpPr/>
                <p:nvPr/>
              </p:nvSpPr>
              <p:spPr>
                <a:xfrm rot="10800000">
                  <a:off x="3597449" y="3645084"/>
                  <a:ext cx="135432" cy="376075"/>
                </a:xfrm>
                <a:custGeom>
                  <a:avLst/>
                  <a:gdLst>
                    <a:gd name="connsiteX0" fmla="*/ 67716 w 135432"/>
                    <a:gd name="connsiteY0" fmla="*/ 376075 h 376075"/>
                    <a:gd name="connsiteX1" fmla="*/ 0 w 135432"/>
                    <a:gd name="connsiteY1" fmla="*/ 283931 h 376075"/>
                    <a:gd name="connsiteX2" fmla="*/ 33858 w 135432"/>
                    <a:gd name="connsiteY2" fmla="*/ 283931 h 376075"/>
                    <a:gd name="connsiteX3" fmla="*/ 33858 w 135432"/>
                    <a:gd name="connsiteY3" fmla="*/ 0 h 376075"/>
                    <a:gd name="connsiteX4" fmla="*/ 101574 w 135432"/>
                    <a:gd name="connsiteY4" fmla="*/ 0 h 376075"/>
                    <a:gd name="connsiteX5" fmla="*/ 101574 w 135432"/>
                    <a:gd name="connsiteY5" fmla="*/ 26921 h 376075"/>
                    <a:gd name="connsiteX6" fmla="*/ 78815 w 135432"/>
                    <a:gd name="connsiteY6" fmla="*/ 26921 h 376075"/>
                    <a:gd name="connsiteX7" fmla="*/ 78815 w 135432"/>
                    <a:gd name="connsiteY7" fmla="*/ 141755 h 376075"/>
                    <a:gd name="connsiteX8" fmla="*/ 101574 w 135432"/>
                    <a:gd name="connsiteY8" fmla="*/ 141755 h 376075"/>
                    <a:gd name="connsiteX9" fmla="*/ 101574 w 135432"/>
                    <a:gd name="connsiteY9" fmla="*/ 283931 h 376075"/>
                    <a:gd name="connsiteX10" fmla="*/ 135432 w 135432"/>
                    <a:gd name="connsiteY10" fmla="*/ 283931 h 376075"/>
                    <a:gd name="connsiteX0" fmla="*/ 67716 w 135432"/>
                    <a:gd name="connsiteY0" fmla="*/ 376075 h 376075"/>
                    <a:gd name="connsiteX1" fmla="*/ 0 w 135432"/>
                    <a:gd name="connsiteY1" fmla="*/ 283931 h 376075"/>
                    <a:gd name="connsiteX2" fmla="*/ 33858 w 135432"/>
                    <a:gd name="connsiteY2" fmla="*/ 283931 h 376075"/>
                    <a:gd name="connsiteX3" fmla="*/ 33858 w 135432"/>
                    <a:gd name="connsiteY3" fmla="*/ 0 h 376075"/>
                    <a:gd name="connsiteX4" fmla="*/ 101574 w 135432"/>
                    <a:gd name="connsiteY4" fmla="*/ 0 h 376075"/>
                    <a:gd name="connsiteX5" fmla="*/ 101574 w 135432"/>
                    <a:gd name="connsiteY5" fmla="*/ 26921 h 376075"/>
                    <a:gd name="connsiteX6" fmla="*/ 78815 w 135432"/>
                    <a:gd name="connsiteY6" fmla="*/ 26921 h 376075"/>
                    <a:gd name="connsiteX7" fmla="*/ 80043 w 135432"/>
                    <a:gd name="connsiteY7" fmla="*/ 87335 h 376075"/>
                    <a:gd name="connsiteX8" fmla="*/ 78815 w 135432"/>
                    <a:gd name="connsiteY8" fmla="*/ 141755 h 376075"/>
                    <a:gd name="connsiteX9" fmla="*/ 101574 w 135432"/>
                    <a:gd name="connsiteY9" fmla="*/ 141755 h 376075"/>
                    <a:gd name="connsiteX10" fmla="*/ 101574 w 135432"/>
                    <a:gd name="connsiteY10" fmla="*/ 283931 h 376075"/>
                    <a:gd name="connsiteX11" fmla="*/ 135432 w 135432"/>
                    <a:gd name="connsiteY11" fmla="*/ 283931 h 376075"/>
                    <a:gd name="connsiteX12" fmla="*/ 67716 w 135432"/>
                    <a:gd name="connsiteY12" fmla="*/ 376075 h 376075"/>
                    <a:gd name="connsiteX0" fmla="*/ 78815 w 170255"/>
                    <a:gd name="connsiteY0" fmla="*/ 26921 h 376075"/>
                    <a:gd name="connsiteX1" fmla="*/ 80043 w 170255"/>
                    <a:gd name="connsiteY1" fmla="*/ 87335 h 376075"/>
                    <a:gd name="connsiteX2" fmla="*/ 78815 w 170255"/>
                    <a:gd name="connsiteY2" fmla="*/ 141755 h 376075"/>
                    <a:gd name="connsiteX3" fmla="*/ 101574 w 170255"/>
                    <a:gd name="connsiteY3" fmla="*/ 141755 h 376075"/>
                    <a:gd name="connsiteX4" fmla="*/ 101574 w 170255"/>
                    <a:gd name="connsiteY4" fmla="*/ 283931 h 376075"/>
                    <a:gd name="connsiteX5" fmla="*/ 135432 w 170255"/>
                    <a:gd name="connsiteY5" fmla="*/ 283931 h 376075"/>
                    <a:gd name="connsiteX6" fmla="*/ 67716 w 170255"/>
                    <a:gd name="connsiteY6" fmla="*/ 376075 h 376075"/>
                    <a:gd name="connsiteX7" fmla="*/ 0 w 170255"/>
                    <a:gd name="connsiteY7" fmla="*/ 283931 h 376075"/>
                    <a:gd name="connsiteX8" fmla="*/ 33858 w 170255"/>
                    <a:gd name="connsiteY8" fmla="*/ 283931 h 376075"/>
                    <a:gd name="connsiteX9" fmla="*/ 33858 w 170255"/>
                    <a:gd name="connsiteY9" fmla="*/ 0 h 376075"/>
                    <a:gd name="connsiteX10" fmla="*/ 101574 w 170255"/>
                    <a:gd name="connsiteY10" fmla="*/ 0 h 376075"/>
                    <a:gd name="connsiteX11" fmla="*/ 101574 w 170255"/>
                    <a:gd name="connsiteY11" fmla="*/ 26921 h 376075"/>
                    <a:gd name="connsiteX12" fmla="*/ 170255 w 170255"/>
                    <a:gd name="connsiteY12" fmla="*/ 118361 h 376075"/>
                    <a:gd name="connsiteX0" fmla="*/ 78815 w 135432"/>
                    <a:gd name="connsiteY0" fmla="*/ 26921 h 376075"/>
                    <a:gd name="connsiteX1" fmla="*/ 80043 w 135432"/>
                    <a:gd name="connsiteY1" fmla="*/ 87335 h 376075"/>
                    <a:gd name="connsiteX2" fmla="*/ 78815 w 135432"/>
                    <a:gd name="connsiteY2" fmla="*/ 141755 h 376075"/>
                    <a:gd name="connsiteX3" fmla="*/ 101574 w 135432"/>
                    <a:gd name="connsiteY3" fmla="*/ 141755 h 376075"/>
                    <a:gd name="connsiteX4" fmla="*/ 101574 w 135432"/>
                    <a:gd name="connsiteY4" fmla="*/ 283931 h 376075"/>
                    <a:gd name="connsiteX5" fmla="*/ 135432 w 135432"/>
                    <a:gd name="connsiteY5" fmla="*/ 283931 h 376075"/>
                    <a:gd name="connsiteX6" fmla="*/ 67716 w 135432"/>
                    <a:gd name="connsiteY6" fmla="*/ 376075 h 376075"/>
                    <a:gd name="connsiteX7" fmla="*/ 0 w 135432"/>
                    <a:gd name="connsiteY7" fmla="*/ 283931 h 376075"/>
                    <a:gd name="connsiteX8" fmla="*/ 33858 w 135432"/>
                    <a:gd name="connsiteY8" fmla="*/ 283931 h 376075"/>
                    <a:gd name="connsiteX9" fmla="*/ 33858 w 135432"/>
                    <a:gd name="connsiteY9" fmla="*/ 0 h 376075"/>
                    <a:gd name="connsiteX10" fmla="*/ 101574 w 135432"/>
                    <a:gd name="connsiteY10" fmla="*/ 0 h 376075"/>
                    <a:gd name="connsiteX11" fmla="*/ 101574 w 135432"/>
                    <a:gd name="connsiteY11" fmla="*/ 26921 h 376075"/>
                    <a:gd name="connsiteX0" fmla="*/ 80043 w 135432"/>
                    <a:gd name="connsiteY0" fmla="*/ 87335 h 376075"/>
                    <a:gd name="connsiteX1" fmla="*/ 78815 w 135432"/>
                    <a:gd name="connsiteY1" fmla="*/ 141755 h 376075"/>
                    <a:gd name="connsiteX2" fmla="*/ 101574 w 135432"/>
                    <a:gd name="connsiteY2" fmla="*/ 141755 h 376075"/>
                    <a:gd name="connsiteX3" fmla="*/ 101574 w 135432"/>
                    <a:gd name="connsiteY3" fmla="*/ 283931 h 376075"/>
                    <a:gd name="connsiteX4" fmla="*/ 135432 w 135432"/>
                    <a:gd name="connsiteY4" fmla="*/ 283931 h 376075"/>
                    <a:gd name="connsiteX5" fmla="*/ 67716 w 135432"/>
                    <a:gd name="connsiteY5" fmla="*/ 376075 h 376075"/>
                    <a:gd name="connsiteX6" fmla="*/ 0 w 135432"/>
                    <a:gd name="connsiteY6" fmla="*/ 283931 h 376075"/>
                    <a:gd name="connsiteX7" fmla="*/ 33858 w 135432"/>
                    <a:gd name="connsiteY7" fmla="*/ 283931 h 376075"/>
                    <a:gd name="connsiteX8" fmla="*/ 33858 w 135432"/>
                    <a:gd name="connsiteY8" fmla="*/ 0 h 376075"/>
                    <a:gd name="connsiteX9" fmla="*/ 101574 w 135432"/>
                    <a:gd name="connsiteY9" fmla="*/ 0 h 376075"/>
                    <a:gd name="connsiteX10" fmla="*/ 101574 w 135432"/>
                    <a:gd name="connsiteY10" fmla="*/ 26921 h 376075"/>
                    <a:gd name="connsiteX0" fmla="*/ 78815 w 135432"/>
                    <a:gd name="connsiteY0" fmla="*/ 141755 h 376075"/>
                    <a:gd name="connsiteX1" fmla="*/ 101574 w 135432"/>
                    <a:gd name="connsiteY1" fmla="*/ 141755 h 376075"/>
                    <a:gd name="connsiteX2" fmla="*/ 101574 w 135432"/>
                    <a:gd name="connsiteY2" fmla="*/ 283931 h 376075"/>
                    <a:gd name="connsiteX3" fmla="*/ 135432 w 135432"/>
                    <a:gd name="connsiteY3" fmla="*/ 283931 h 376075"/>
                    <a:gd name="connsiteX4" fmla="*/ 67716 w 135432"/>
                    <a:gd name="connsiteY4" fmla="*/ 376075 h 376075"/>
                    <a:gd name="connsiteX5" fmla="*/ 0 w 135432"/>
                    <a:gd name="connsiteY5" fmla="*/ 283931 h 376075"/>
                    <a:gd name="connsiteX6" fmla="*/ 33858 w 135432"/>
                    <a:gd name="connsiteY6" fmla="*/ 283931 h 376075"/>
                    <a:gd name="connsiteX7" fmla="*/ 33858 w 135432"/>
                    <a:gd name="connsiteY7" fmla="*/ 0 h 376075"/>
                    <a:gd name="connsiteX8" fmla="*/ 101574 w 135432"/>
                    <a:gd name="connsiteY8" fmla="*/ 0 h 376075"/>
                    <a:gd name="connsiteX9" fmla="*/ 101574 w 135432"/>
                    <a:gd name="connsiteY9" fmla="*/ 26921 h 376075"/>
                    <a:gd name="connsiteX0" fmla="*/ 101574 w 135432"/>
                    <a:gd name="connsiteY0" fmla="*/ 141755 h 376075"/>
                    <a:gd name="connsiteX1" fmla="*/ 101574 w 135432"/>
                    <a:gd name="connsiteY1" fmla="*/ 283931 h 376075"/>
                    <a:gd name="connsiteX2" fmla="*/ 135432 w 135432"/>
                    <a:gd name="connsiteY2" fmla="*/ 283931 h 376075"/>
                    <a:gd name="connsiteX3" fmla="*/ 67716 w 135432"/>
                    <a:gd name="connsiteY3" fmla="*/ 376075 h 376075"/>
                    <a:gd name="connsiteX4" fmla="*/ 0 w 135432"/>
                    <a:gd name="connsiteY4" fmla="*/ 283931 h 376075"/>
                    <a:gd name="connsiteX5" fmla="*/ 33858 w 135432"/>
                    <a:gd name="connsiteY5" fmla="*/ 283931 h 376075"/>
                    <a:gd name="connsiteX6" fmla="*/ 33858 w 135432"/>
                    <a:gd name="connsiteY6" fmla="*/ 0 h 376075"/>
                    <a:gd name="connsiteX7" fmla="*/ 101574 w 135432"/>
                    <a:gd name="connsiteY7" fmla="*/ 0 h 376075"/>
                    <a:gd name="connsiteX8" fmla="*/ 101574 w 135432"/>
                    <a:gd name="connsiteY8" fmla="*/ 26921 h 3760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5432" h="376075">
                      <a:moveTo>
                        <a:pt x="101574" y="141755"/>
                      </a:moveTo>
                      <a:lnTo>
                        <a:pt x="101574" y="283931"/>
                      </a:lnTo>
                      <a:lnTo>
                        <a:pt x="135432" y="283931"/>
                      </a:lnTo>
                      <a:lnTo>
                        <a:pt x="67716" y="376075"/>
                      </a:lnTo>
                      <a:lnTo>
                        <a:pt x="0" y="283931"/>
                      </a:lnTo>
                      <a:lnTo>
                        <a:pt x="33858" y="283931"/>
                      </a:lnTo>
                      <a:lnTo>
                        <a:pt x="33858" y="0"/>
                      </a:lnTo>
                      <a:lnTo>
                        <a:pt x="101574" y="0"/>
                      </a:lnTo>
                      <a:lnTo>
                        <a:pt x="101574" y="26921"/>
                      </a:lnTo>
                    </a:path>
                  </a:pathLst>
                </a:custGeom>
                <a:solidFill>
                  <a:srgbClr val="FFFFFF"/>
                </a:solidFill>
                <a:ln w="9525" cap="flat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404955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grpSp>
              <p:nvGrpSpPr>
                <p:cNvPr id="209" name="Gruppieren 208">
                  <a:extLst>
                    <a:ext uri="{FF2B5EF4-FFF2-40B4-BE49-F238E27FC236}">
                      <a16:creationId xmlns:a16="http://schemas.microsoft.com/office/drawing/2014/main" id="{42F8671C-5424-5DB2-EE7D-A97820A26C9E}"/>
                    </a:ext>
                  </a:extLst>
                </p:cNvPr>
                <p:cNvGrpSpPr/>
                <p:nvPr/>
              </p:nvGrpSpPr>
              <p:grpSpPr>
                <a:xfrm flipH="1">
                  <a:off x="3339348" y="3737224"/>
                  <a:ext cx="290885" cy="221585"/>
                  <a:chOff x="2372418" y="6278156"/>
                  <a:chExt cx="436429" cy="332455"/>
                </a:xfrm>
                <a:noFill/>
              </p:grpSpPr>
              <p:grpSp>
                <p:nvGrpSpPr>
                  <p:cNvPr id="210" name="Gruppieren 209">
                    <a:extLst>
                      <a:ext uri="{FF2B5EF4-FFF2-40B4-BE49-F238E27FC236}">
                        <a16:creationId xmlns:a16="http://schemas.microsoft.com/office/drawing/2014/main" id="{583F8DC4-28F6-E9DA-4F65-75E0875583CD}"/>
                      </a:ext>
                    </a:extLst>
                  </p:cNvPr>
                  <p:cNvGrpSpPr/>
                  <p:nvPr/>
                </p:nvGrpSpPr>
                <p:grpSpPr>
                  <a:xfrm>
                    <a:off x="2372418" y="6355469"/>
                    <a:ext cx="236012" cy="255142"/>
                    <a:chOff x="3800021" y="2196690"/>
                    <a:chExt cx="1970092" cy="2129785"/>
                  </a:xfrm>
                  <a:grpFill/>
                </p:grpSpPr>
                <p:sp>
                  <p:nvSpPr>
                    <p:cNvPr id="213" name="Ellipse 212">
                      <a:extLst>
                        <a:ext uri="{FF2B5EF4-FFF2-40B4-BE49-F238E27FC236}">
                          <a16:creationId xmlns:a16="http://schemas.microsoft.com/office/drawing/2014/main" id="{5EBF1310-1D5D-1A92-F0F5-E899EF7B44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28033" y="2196690"/>
                      <a:ext cx="1114060" cy="1114059"/>
                    </a:xfrm>
                    <a:prstGeom prst="ellipse">
                      <a:avLst/>
                    </a:prstGeom>
                    <a:grpFill/>
                    <a:ln w="9525" cap="rnd">
                      <a:solidFill>
                        <a:schemeClr val="tx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514213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13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404955"/>
                        </a:solidFill>
                        <a:effectLst/>
                        <a:uLnTx/>
                        <a:uFillTx/>
                        <a:latin typeface="Arial"/>
                      </a:endParaRPr>
                    </a:p>
                  </p:txBody>
                </p:sp>
                <p:sp>
                  <p:nvSpPr>
                    <p:cNvPr id="214" name="Freihandform: Form 213">
                      <a:extLst>
                        <a:ext uri="{FF2B5EF4-FFF2-40B4-BE49-F238E27FC236}">
                          <a16:creationId xmlns:a16="http://schemas.microsoft.com/office/drawing/2014/main" id="{AE753FDD-3B9E-7504-E50F-E19E220BBE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00021" y="3533651"/>
                      <a:ext cx="1970092" cy="792824"/>
                    </a:xfrm>
                    <a:custGeom>
                      <a:avLst/>
                      <a:gdLst>
                        <a:gd name="connsiteX0" fmla="*/ 0 w 428625"/>
                        <a:gd name="connsiteY0" fmla="*/ 130969 h 135731"/>
                        <a:gd name="connsiteX1" fmla="*/ 216694 w 428625"/>
                        <a:gd name="connsiteY1" fmla="*/ 0 h 135731"/>
                        <a:gd name="connsiteX2" fmla="*/ 428625 w 428625"/>
                        <a:gd name="connsiteY2" fmla="*/ 95250 h 135731"/>
                        <a:gd name="connsiteX3" fmla="*/ 428625 w 428625"/>
                        <a:gd name="connsiteY3" fmla="*/ 135731 h 135731"/>
                        <a:gd name="connsiteX0" fmla="*/ 0 w 428625"/>
                        <a:gd name="connsiteY0" fmla="*/ 130969 h 135731"/>
                        <a:gd name="connsiteX1" fmla="*/ 37277 w 428625"/>
                        <a:gd name="connsiteY1" fmla="*/ 106660 h 135731"/>
                        <a:gd name="connsiteX2" fmla="*/ 216694 w 428625"/>
                        <a:gd name="connsiteY2" fmla="*/ 0 h 135731"/>
                        <a:gd name="connsiteX3" fmla="*/ 428625 w 428625"/>
                        <a:gd name="connsiteY3" fmla="*/ 95250 h 135731"/>
                        <a:gd name="connsiteX4" fmla="*/ 428625 w 428625"/>
                        <a:gd name="connsiteY4" fmla="*/ 135731 h 135731"/>
                        <a:gd name="connsiteX0" fmla="*/ 0 w 428625"/>
                        <a:gd name="connsiteY0" fmla="*/ 130969 h 135731"/>
                        <a:gd name="connsiteX1" fmla="*/ 342 w 428625"/>
                        <a:gd name="connsiteY1" fmla="*/ 94348 h 135731"/>
                        <a:gd name="connsiteX2" fmla="*/ 216694 w 428625"/>
                        <a:gd name="connsiteY2" fmla="*/ 0 h 135731"/>
                        <a:gd name="connsiteX3" fmla="*/ 428625 w 428625"/>
                        <a:gd name="connsiteY3" fmla="*/ 95250 h 135731"/>
                        <a:gd name="connsiteX4" fmla="*/ 428625 w 428625"/>
                        <a:gd name="connsiteY4" fmla="*/ 135731 h 135731"/>
                        <a:gd name="connsiteX0" fmla="*/ 0 w 428625"/>
                        <a:gd name="connsiteY0" fmla="*/ 130969 h 135731"/>
                        <a:gd name="connsiteX1" fmla="*/ 342 w 428625"/>
                        <a:gd name="connsiteY1" fmla="*/ 94348 h 135731"/>
                        <a:gd name="connsiteX2" fmla="*/ 216694 w 428625"/>
                        <a:gd name="connsiteY2" fmla="*/ 0 h 135731"/>
                        <a:gd name="connsiteX3" fmla="*/ 428625 w 428625"/>
                        <a:gd name="connsiteY3" fmla="*/ 95250 h 135731"/>
                        <a:gd name="connsiteX4" fmla="*/ 428625 w 428625"/>
                        <a:gd name="connsiteY4" fmla="*/ 135731 h 135731"/>
                        <a:gd name="connsiteX0" fmla="*/ 0 w 428625"/>
                        <a:gd name="connsiteY0" fmla="*/ 130969 h 135731"/>
                        <a:gd name="connsiteX1" fmla="*/ 342 w 428625"/>
                        <a:gd name="connsiteY1" fmla="*/ 94348 h 135731"/>
                        <a:gd name="connsiteX2" fmla="*/ 216694 w 428625"/>
                        <a:gd name="connsiteY2" fmla="*/ 0 h 135731"/>
                        <a:gd name="connsiteX3" fmla="*/ 428625 w 428625"/>
                        <a:gd name="connsiteY3" fmla="*/ 95250 h 135731"/>
                        <a:gd name="connsiteX4" fmla="*/ 428625 w 428625"/>
                        <a:gd name="connsiteY4" fmla="*/ 135731 h 135731"/>
                        <a:gd name="connsiteX0" fmla="*/ 0 w 428625"/>
                        <a:gd name="connsiteY0" fmla="*/ 40995 h 45757"/>
                        <a:gd name="connsiteX1" fmla="*/ 342 w 428625"/>
                        <a:gd name="connsiteY1" fmla="*/ 4374 h 45757"/>
                        <a:gd name="connsiteX2" fmla="*/ 428625 w 428625"/>
                        <a:gd name="connsiteY2" fmla="*/ 5276 h 45757"/>
                        <a:gd name="connsiteX3" fmla="*/ 428625 w 428625"/>
                        <a:gd name="connsiteY3" fmla="*/ 45757 h 45757"/>
                        <a:gd name="connsiteX0" fmla="*/ 0 w 428625"/>
                        <a:gd name="connsiteY0" fmla="*/ 93270 h 98032"/>
                        <a:gd name="connsiteX1" fmla="*/ 342 w 428625"/>
                        <a:gd name="connsiteY1" fmla="*/ 56649 h 98032"/>
                        <a:gd name="connsiteX2" fmla="*/ 428625 w 428625"/>
                        <a:gd name="connsiteY2" fmla="*/ 57551 h 98032"/>
                        <a:gd name="connsiteX3" fmla="*/ 428625 w 428625"/>
                        <a:gd name="connsiteY3" fmla="*/ 98032 h 98032"/>
                        <a:gd name="connsiteX0" fmla="*/ 0 w 428625"/>
                        <a:gd name="connsiteY0" fmla="*/ 125682 h 130444"/>
                        <a:gd name="connsiteX1" fmla="*/ 342 w 428625"/>
                        <a:gd name="connsiteY1" fmla="*/ 89061 h 130444"/>
                        <a:gd name="connsiteX2" fmla="*/ 428625 w 428625"/>
                        <a:gd name="connsiteY2" fmla="*/ 89963 h 130444"/>
                        <a:gd name="connsiteX3" fmla="*/ 428625 w 428625"/>
                        <a:gd name="connsiteY3" fmla="*/ 130444 h 130444"/>
                        <a:gd name="connsiteX0" fmla="*/ 0 w 428625"/>
                        <a:gd name="connsiteY0" fmla="*/ 123335 h 128097"/>
                        <a:gd name="connsiteX1" fmla="*/ 342 w 428625"/>
                        <a:gd name="connsiteY1" fmla="*/ 86714 h 128097"/>
                        <a:gd name="connsiteX2" fmla="*/ 428625 w 428625"/>
                        <a:gd name="connsiteY2" fmla="*/ 87616 h 128097"/>
                        <a:gd name="connsiteX3" fmla="*/ 428625 w 428625"/>
                        <a:gd name="connsiteY3" fmla="*/ 128097 h 1280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28625" h="128097">
                          <a:moveTo>
                            <a:pt x="0" y="123335"/>
                          </a:moveTo>
                          <a:lnTo>
                            <a:pt x="342" y="86714"/>
                          </a:lnTo>
                          <a:cubicBezTo>
                            <a:pt x="79987" y="-25940"/>
                            <a:pt x="343907" y="-32138"/>
                            <a:pt x="428625" y="87616"/>
                          </a:cubicBezTo>
                          <a:lnTo>
                            <a:pt x="428625" y="128097"/>
                          </a:lnTo>
                        </a:path>
                      </a:pathLst>
                    </a:custGeom>
                    <a:grpFill/>
                    <a:ln w="9525" cap="rnd">
                      <a:solidFill>
                        <a:schemeClr val="tx1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defTabSz="514213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13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404955"/>
                        </a:solidFill>
                        <a:effectLst/>
                        <a:uLnTx/>
                        <a:uFillTx/>
                        <a:latin typeface="Arial"/>
                      </a:endParaRPr>
                    </a:p>
                  </p:txBody>
                </p:sp>
              </p:grpSp>
              <p:sp>
                <p:nvSpPr>
                  <p:cNvPr id="211" name="Ellipse 210">
                    <a:extLst>
                      <a:ext uri="{FF2B5EF4-FFF2-40B4-BE49-F238E27FC236}">
                        <a16:creationId xmlns:a16="http://schemas.microsoft.com/office/drawing/2014/main" id="{4E5BC2B9-7726-D4FA-0874-D7122A1504DA}"/>
                      </a:ext>
                    </a:extLst>
                  </p:cNvPr>
                  <p:cNvSpPr/>
                  <p:nvPr/>
                </p:nvSpPr>
                <p:spPr>
                  <a:xfrm>
                    <a:off x="2624109" y="6278156"/>
                    <a:ext cx="133462" cy="133461"/>
                  </a:xfrm>
                  <a:prstGeom prst="ellipse">
                    <a:avLst/>
                  </a:prstGeom>
                  <a:grpFill/>
                  <a:ln w="9525" cap="rnd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51421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1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04955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  <p:sp>
                <p:nvSpPr>
                  <p:cNvPr id="212" name="Freihandform: Form 211">
                    <a:extLst>
                      <a:ext uri="{FF2B5EF4-FFF2-40B4-BE49-F238E27FC236}">
                        <a16:creationId xmlns:a16="http://schemas.microsoft.com/office/drawing/2014/main" id="{7495AFD0-19B5-BFED-6172-83178ECDC510}"/>
                      </a:ext>
                    </a:extLst>
                  </p:cNvPr>
                  <p:cNvSpPr/>
                  <p:nvPr/>
                </p:nvSpPr>
                <p:spPr>
                  <a:xfrm>
                    <a:off x="2601846" y="6438320"/>
                    <a:ext cx="207001" cy="94978"/>
                  </a:xfrm>
                  <a:custGeom>
                    <a:avLst/>
                    <a:gdLst>
                      <a:gd name="connsiteX0" fmla="*/ 88042 w 207001"/>
                      <a:gd name="connsiteY0" fmla="*/ 9 h 94978"/>
                      <a:gd name="connsiteX1" fmla="*/ 207001 w 207001"/>
                      <a:gd name="connsiteY1" fmla="*/ 64963 h 94978"/>
                      <a:gd name="connsiteX2" fmla="*/ 207001 w 207001"/>
                      <a:gd name="connsiteY2" fmla="*/ 94978 h 94978"/>
                      <a:gd name="connsiteX3" fmla="*/ 91801 w 207001"/>
                      <a:gd name="connsiteY3" fmla="*/ 93255 h 94978"/>
                      <a:gd name="connsiteX4" fmla="*/ 0 w 207001"/>
                      <a:gd name="connsiteY4" fmla="*/ 30966 h 94978"/>
                      <a:gd name="connsiteX5" fmla="*/ 19966 w 207001"/>
                      <a:gd name="connsiteY5" fmla="*/ 16674 h 94978"/>
                      <a:gd name="connsiteX6" fmla="*/ 88042 w 207001"/>
                      <a:gd name="connsiteY6" fmla="*/ 9 h 94978"/>
                      <a:gd name="connsiteX0" fmla="*/ 91801 w 207001"/>
                      <a:gd name="connsiteY0" fmla="*/ 93255 h 184695"/>
                      <a:gd name="connsiteX1" fmla="*/ 0 w 207001"/>
                      <a:gd name="connsiteY1" fmla="*/ 30966 h 184695"/>
                      <a:gd name="connsiteX2" fmla="*/ 19966 w 207001"/>
                      <a:gd name="connsiteY2" fmla="*/ 16674 h 184695"/>
                      <a:gd name="connsiteX3" fmla="*/ 88042 w 207001"/>
                      <a:gd name="connsiteY3" fmla="*/ 9 h 184695"/>
                      <a:gd name="connsiteX4" fmla="*/ 207001 w 207001"/>
                      <a:gd name="connsiteY4" fmla="*/ 64963 h 184695"/>
                      <a:gd name="connsiteX5" fmla="*/ 207001 w 207001"/>
                      <a:gd name="connsiteY5" fmla="*/ 94978 h 184695"/>
                      <a:gd name="connsiteX6" fmla="*/ 183241 w 207001"/>
                      <a:gd name="connsiteY6" fmla="*/ 184695 h 184695"/>
                      <a:gd name="connsiteX0" fmla="*/ 91801 w 207001"/>
                      <a:gd name="connsiteY0" fmla="*/ 93255 h 94978"/>
                      <a:gd name="connsiteX1" fmla="*/ 0 w 207001"/>
                      <a:gd name="connsiteY1" fmla="*/ 30966 h 94978"/>
                      <a:gd name="connsiteX2" fmla="*/ 19966 w 207001"/>
                      <a:gd name="connsiteY2" fmla="*/ 16674 h 94978"/>
                      <a:gd name="connsiteX3" fmla="*/ 88042 w 207001"/>
                      <a:gd name="connsiteY3" fmla="*/ 9 h 94978"/>
                      <a:gd name="connsiteX4" fmla="*/ 207001 w 207001"/>
                      <a:gd name="connsiteY4" fmla="*/ 64963 h 94978"/>
                      <a:gd name="connsiteX5" fmla="*/ 207001 w 207001"/>
                      <a:gd name="connsiteY5" fmla="*/ 94978 h 94978"/>
                      <a:gd name="connsiteX0" fmla="*/ 0 w 207001"/>
                      <a:gd name="connsiteY0" fmla="*/ 30966 h 94978"/>
                      <a:gd name="connsiteX1" fmla="*/ 19966 w 207001"/>
                      <a:gd name="connsiteY1" fmla="*/ 16674 h 94978"/>
                      <a:gd name="connsiteX2" fmla="*/ 88042 w 207001"/>
                      <a:gd name="connsiteY2" fmla="*/ 9 h 94978"/>
                      <a:gd name="connsiteX3" fmla="*/ 207001 w 207001"/>
                      <a:gd name="connsiteY3" fmla="*/ 64963 h 94978"/>
                      <a:gd name="connsiteX4" fmla="*/ 207001 w 207001"/>
                      <a:gd name="connsiteY4" fmla="*/ 94978 h 949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7001" h="94978">
                        <a:moveTo>
                          <a:pt x="0" y="30966"/>
                        </a:moveTo>
                        <a:lnTo>
                          <a:pt x="19966" y="16674"/>
                        </a:lnTo>
                        <a:cubicBezTo>
                          <a:pt x="40486" y="5885"/>
                          <a:pt x="64220" y="254"/>
                          <a:pt x="88042" y="9"/>
                        </a:cubicBezTo>
                        <a:cubicBezTo>
                          <a:pt x="135685" y="-482"/>
                          <a:pt x="183677" y="20567"/>
                          <a:pt x="207001" y="64963"/>
                        </a:cubicBezTo>
                        <a:lnTo>
                          <a:pt x="207001" y="94978"/>
                        </a:lnTo>
                      </a:path>
                    </a:pathLst>
                  </a:custGeom>
                  <a:grpFill/>
                  <a:ln w="9525" cap="rnd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514213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013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04955"/>
                      </a:solidFill>
                      <a:effectLst/>
                      <a:uLnTx/>
                      <a:uFillTx/>
                      <a:latin typeface="Arial"/>
                    </a:endParaRPr>
                  </a:p>
                </p:txBody>
              </p:sp>
            </p:grpSp>
          </p:grpSp>
        </p:grpSp>
        <p:sp>
          <p:nvSpPr>
            <p:cNvPr id="193" name="Textplatzhalter 2">
              <a:extLst>
                <a:ext uri="{FF2B5EF4-FFF2-40B4-BE49-F238E27FC236}">
                  <a16:creationId xmlns:a16="http://schemas.microsoft.com/office/drawing/2014/main" id="{1D4A8160-7669-9048-FF0B-98CC3447C67E}"/>
                </a:ext>
              </a:extLst>
            </p:cNvPr>
            <p:cNvSpPr txBox="1">
              <a:spLocks/>
            </p:cNvSpPr>
            <p:nvPr/>
          </p:nvSpPr>
          <p:spPr>
            <a:xfrm>
              <a:off x="746869" y="1995787"/>
              <a:ext cx="2019784" cy="4924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144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Wingdings" pitchFamily="2" charset="2"/>
                <a:buChar char="§"/>
                <a:tabLst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88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432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76000" indent="-144000" algn="l" defTabSz="914126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720000" indent="-144000" algn="l" defTabSz="987128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−"/>
                <a:defRPr sz="1400" kern="1200" spc="0" baseline="0">
                  <a:solidFill>
                    <a:srgbClr val="404955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3846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08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600" dirty="0">
                  <a:solidFill>
                    <a:schemeClr val="accent6"/>
                  </a:solidFill>
                </a:rPr>
                <a:t>1 937 </a:t>
              </a:r>
              <a:r>
                <a:rPr lang="en-GB" sz="1200" dirty="0">
                  <a:solidFill>
                    <a:schemeClr val="tx1"/>
                  </a:solidFill>
                </a:rPr>
                <a:t>candidates </a:t>
              </a:r>
            </a:p>
            <a:p>
              <a:pPr marL="0" indent="0" algn="ctr" defTabSz="914103">
                <a:lnSpc>
                  <a:spcPct val="100000"/>
                </a:lnSpc>
                <a:buNone/>
              </a:pPr>
              <a:r>
                <a:rPr lang="en-GB" sz="1200" dirty="0">
                  <a:solidFill>
                    <a:schemeClr val="tx1"/>
                  </a:solidFill>
                </a:rPr>
                <a:t>sitting </a:t>
              </a:r>
              <a:r>
                <a:rPr lang="en-GB" sz="1200" dirty="0">
                  <a:solidFill>
                    <a:schemeClr val="accent6"/>
                  </a:solidFill>
                </a:rPr>
                <a:t>&gt;</a:t>
              </a:r>
              <a:r>
                <a:rPr lang="en-GB" sz="1600">
                  <a:solidFill>
                    <a:schemeClr val="accent6"/>
                  </a:solidFill>
                </a:rPr>
                <a:t>3 500</a:t>
              </a:r>
              <a:r>
                <a:rPr lang="en-GB" sz="1200">
                  <a:solidFill>
                    <a:schemeClr val="tx1"/>
                  </a:solidFill>
                </a:rPr>
                <a:t> </a:t>
              </a:r>
              <a:r>
                <a:rPr lang="en-GB" sz="1200" dirty="0">
                  <a:solidFill>
                    <a:schemeClr val="tx1"/>
                  </a:solidFill>
                </a:rPr>
                <a:t>exam paper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20422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38F93B-D0DB-7352-B858-123AEAB8A3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EQE 2024 – Survey 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1252C1-CB8D-75B7-6257-D5B21B7C9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AC15D-B94B-4B86-ABD3-3EDECDB333F5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7AF32B-EA6C-187B-B1C9-A635C9916CC5}"/>
              </a:ext>
            </a:extLst>
          </p:cNvPr>
          <p:cNvSpPr txBox="1"/>
          <p:nvPr/>
        </p:nvSpPr>
        <p:spPr>
          <a:xfrm flipH="1">
            <a:off x="1837642" y="1700676"/>
            <a:ext cx="570669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GB" sz="2000" b="1" dirty="0"/>
              <a:t>202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ADE52F-D348-F707-017F-3892919FCA85}"/>
              </a:ext>
            </a:extLst>
          </p:cNvPr>
          <p:cNvSpPr txBox="1"/>
          <p:nvPr/>
        </p:nvSpPr>
        <p:spPr>
          <a:xfrm flipH="1">
            <a:off x="7095354" y="1700676"/>
            <a:ext cx="570669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ctr"/>
            <a:r>
              <a:rPr lang="en-GB" sz="2000" b="1" dirty="0"/>
              <a:t>2024</a:t>
            </a:r>
          </a:p>
        </p:txBody>
      </p:sp>
      <p:sp>
        <p:nvSpPr>
          <p:cNvPr id="6" name="Textfeld 70">
            <a:extLst>
              <a:ext uri="{FF2B5EF4-FFF2-40B4-BE49-F238E27FC236}">
                <a16:creationId xmlns:a16="http://schemas.microsoft.com/office/drawing/2014/main" id="{0A580678-58CE-DAC4-3C34-E52F05069EBD}"/>
              </a:ext>
            </a:extLst>
          </p:cNvPr>
          <p:cNvSpPr txBox="1"/>
          <p:nvPr/>
        </p:nvSpPr>
        <p:spPr>
          <a:xfrm>
            <a:off x="7961548" y="2020749"/>
            <a:ext cx="535971" cy="215444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400" dirty="0">
                <a:solidFill>
                  <a:schemeClr val="accent6"/>
                </a:solidFill>
              </a:rPr>
              <a:t>+19%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A2CC11-02DA-FAB6-B8C9-632D0B927F36}"/>
              </a:ext>
            </a:extLst>
          </p:cNvPr>
          <p:cNvSpPr/>
          <p:nvPr/>
        </p:nvSpPr>
        <p:spPr>
          <a:xfrm>
            <a:off x="684212" y="4155266"/>
            <a:ext cx="8116887" cy="43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8D46A79-437E-E993-560B-557E78FC18D5}"/>
              </a:ext>
            </a:extLst>
          </p:cNvPr>
          <p:cNvSpPr/>
          <p:nvPr/>
        </p:nvSpPr>
        <p:spPr>
          <a:xfrm>
            <a:off x="5960277" y="4155266"/>
            <a:ext cx="2535326" cy="432000"/>
          </a:xfrm>
          <a:prstGeom prst="rect">
            <a:avLst/>
          </a:prstGeom>
          <a:solidFill>
            <a:srgbClr val="3378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893688B-0423-6A7E-984F-E83C3AE406D4}"/>
              </a:ext>
            </a:extLst>
          </p:cNvPr>
          <p:cNvSpPr/>
          <p:nvPr/>
        </p:nvSpPr>
        <p:spPr>
          <a:xfrm>
            <a:off x="1310474" y="4155266"/>
            <a:ext cx="2245574" cy="432000"/>
          </a:xfrm>
          <a:prstGeom prst="rect">
            <a:avLst/>
          </a:prstGeom>
          <a:solidFill>
            <a:srgbClr val="D4DB1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9C8E8D-9E04-D989-3AA9-34E494CD3B98}"/>
              </a:ext>
            </a:extLst>
          </p:cNvPr>
          <p:cNvSpPr/>
          <p:nvPr/>
        </p:nvSpPr>
        <p:spPr>
          <a:xfrm>
            <a:off x="684212" y="2236194"/>
            <a:ext cx="8116887" cy="43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9F261EC-7BDD-E9F4-B9B5-A52B0ED9D0D9}"/>
              </a:ext>
            </a:extLst>
          </p:cNvPr>
          <p:cNvSpPr/>
          <p:nvPr/>
        </p:nvSpPr>
        <p:spPr>
          <a:xfrm>
            <a:off x="5962193" y="2236194"/>
            <a:ext cx="2535326" cy="432000"/>
          </a:xfrm>
          <a:prstGeom prst="rect">
            <a:avLst/>
          </a:prstGeom>
          <a:solidFill>
            <a:srgbClr val="3378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4177E16-1AD6-CB7A-CE0F-1304A3AB1880}"/>
              </a:ext>
            </a:extLst>
          </p:cNvPr>
          <p:cNvSpPr/>
          <p:nvPr/>
        </p:nvSpPr>
        <p:spPr>
          <a:xfrm>
            <a:off x="1562186" y="2236194"/>
            <a:ext cx="1992042" cy="432000"/>
          </a:xfrm>
          <a:prstGeom prst="rect">
            <a:avLst/>
          </a:prstGeom>
          <a:solidFill>
            <a:srgbClr val="D4DB1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4CE9ADD-77EF-A2E7-7AA1-56D359DC676A}"/>
              </a:ext>
            </a:extLst>
          </p:cNvPr>
          <p:cNvSpPr txBox="1"/>
          <p:nvPr/>
        </p:nvSpPr>
        <p:spPr>
          <a:xfrm>
            <a:off x="7963151" y="2313694"/>
            <a:ext cx="534368" cy="276999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/>
          <a:p>
            <a:pPr algn="r"/>
            <a:r>
              <a:rPr lang="en-GB" b="1" dirty="0">
                <a:solidFill>
                  <a:schemeClr val="bg1"/>
                </a:solidFill>
              </a:rPr>
              <a:t>89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7D3EC13-CAC2-B963-8B7B-50100C1012E2}"/>
              </a:ext>
            </a:extLst>
          </p:cNvPr>
          <p:cNvSpPr txBox="1"/>
          <p:nvPr/>
        </p:nvSpPr>
        <p:spPr>
          <a:xfrm>
            <a:off x="1562186" y="2313694"/>
            <a:ext cx="534368" cy="276999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/>
          <a:p>
            <a:pPr algn="r"/>
            <a:r>
              <a:rPr lang="en-GB" dirty="0">
                <a:solidFill>
                  <a:schemeClr val="bg1"/>
                </a:solidFill>
              </a:rPr>
              <a:t>70%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2858289-7A05-0FE0-982C-91CA6725F950}"/>
              </a:ext>
            </a:extLst>
          </p:cNvPr>
          <p:cNvSpPr/>
          <p:nvPr/>
        </p:nvSpPr>
        <p:spPr>
          <a:xfrm>
            <a:off x="684212" y="2875885"/>
            <a:ext cx="8116887" cy="43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38733B4-C9E0-F9EF-7509-72BDF9902F78}"/>
              </a:ext>
            </a:extLst>
          </p:cNvPr>
          <p:cNvSpPr/>
          <p:nvPr/>
        </p:nvSpPr>
        <p:spPr>
          <a:xfrm>
            <a:off x="1868073" y="2875885"/>
            <a:ext cx="1702290" cy="432000"/>
          </a:xfrm>
          <a:prstGeom prst="rect">
            <a:avLst/>
          </a:prstGeom>
          <a:solidFill>
            <a:srgbClr val="D4DB1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AA1523E-C0FD-9323-8648-B0D9AD4B6E85}"/>
              </a:ext>
            </a:extLst>
          </p:cNvPr>
          <p:cNvSpPr/>
          <p:nvPr/>
        </p:nvSpPr>
        <p:spPr>
          <a:xfrm>
            <a:off x="5962193" y="2875885"/>
            <a:ext cx="2667004" cy="432000"/>
          </a:xfrm>
          <a:prstGeom prst="rect">
            <a:avLst/>
          </a:prstGeom>
          <a:solidFill>
            <a:srgbClr val="3378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2830D04-E33D-A654-6668-F7226E925DAC}"/>
              </a:ext>
            </a:extLst>
          </p:cNvPr>
          <p:cNvSpPr txBox="1"/>
          <p:nvPr/>
        </p:nvSpPr>
        <p:spPr>
          <a:xfrm>
            <a:off x="1868073" y="2953385"/>
            <a:ext cx="534368" cy="276999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/>
          <a:p>
            <a:pPr algn="r"/>
            <a:r>
              <a:rPr lang="en-GB" dirty="0">
                <a:solidFill>
                  <a:schemeClr val="bg1"/>
                </a:solidFill>
              </a:rPr>
              <a:t>61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745F70A-82B9-6A59-436F-E412FF430FD5}"/>
              </a:ext>
            </a:extLst>
          </p:cNvPr>
          <p:cNvSpPr txBox="1"/>
          <p:nvPr/>
        </p:nvSpPr>
        <p:spPr>
          <a:xfrm>
            <a:off x="8094829" y="2953385"/>
            <a:ext cx="534368" cy="276999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/>
          <a:p>
            <a:pPr algn="r"/>
            <a:r>
              <a:rPr lang="en-GB" b="1" dirty="0">
                <a:solidFill>
                  <a:schemeClr val="bg1"/>
                </a:solidFill>
              </a:rPr>
              <a:t>93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12E321-E0D7-4CF4-C62C-1332A74B3EF7}"/>
              </a:ext>
            </a:extLst>
          </p:cNvPr>
          <p:cNvSpPr/>
          <p:nvPr/>
        </p:nvSpPr>
        <p:spPr>
          <a:xfrm>
            <a:off x="684212" y="3515576"/>
            <a:ext cx="8116887" cy="432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9278A9E-25E7-7BB1-FBDC-226A9DF28DC6}"/>
              </a:ext>
            </a:extLst>
          </p:cNvPr>
          <p:cNvSpPr/>
          <p:nvPr/>
        </p:nvSpPr>
        <p:spPr>
          <a:xfrm>
            <a:off x="1718579" y="3515576"/>
            <a:ext cx="1847166" cy="432000"/>
          </a:xfrm>
          <a:prstGeom prst="rect">
            <a:avLst/>
          </a:prstGeom>
          <a:solidFill>
            <a:srgbClr val="D4DB1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2A9199-ABDE-E342-B19C-6EB00613FEF3}"/>
              </a:ext>
            </a:extLst>
          </p:cNvPr>
          <p:cNvSpPr/>
          <p:nvPr/>
        </p:nvSpPr>
        <p:spPr>
          <a:xfrm>
            <a:off x="5962193" y="3515576"/>
            <a:ext cx="2535326" cy="432000"/>
          </a:xfrm>
          <a:prstGeom prst="rect">
            <a:avLst/>
          </a:prstGeom>
          <a:solidFill>
            <a:srgbClr val="3378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8ED84FC-5AEC-A1EC-EC00-DC1C56083C83}"/>
              </a:ext>
            </a:extLst>
          </p:cNvPr>
          <p:cNvSpPr txBox="1"/>
          <p:nvPr/>
        </p:nvSpPr>
        <p:spPr>
          <a:xfrm>
            <a:off x="1718579" y="3593076"/>
            <a:ext cx="534368" cy="276999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/>
          <a:p>
            <a:pPr algn="r"/>
            <a:r>
              <a:rPr lang="en-GB" dirty="0">
                <a:solidFill>
                  <a:schemeClr val="bg1"/>
                </a:solidFill>
              </a:rPr>
              <a:t>66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AE46FE1-E6B2-0FD1-AFAB-3E83C926F8A2}"/>
              </a:ext>
            </a:extLst>
          </p:cNvPr>
          <p:cNvSpPr txBox="1"/>
          <p:nvPr/>
        </p:nvSpPr>
        <p:spPr>
          <a:xfrm>
            <a:off x="7963151" y="3593076"/>
            <a:ext cx="534368" cy="276999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/>
          <a:p>
            <a:pPr algn="r"/>
            <a:r>
              <a:rPr lang="en-GB" b="1" dirty="0">
                <a:solidFill>
                  <a:schemeClr val="bg1"/>
                </a:solidFill>
              </a:rPr>
              <a:t>89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6D7C5A6-7A09-A3D5-5F12-DFC77D270843}"/>
              </a:ext>
            </a:extLst>
          </p:cNvPr>
          <p:cNvSpPr txBox="1"/>
          <p:nvPr/>
        </p:nvSpPr>
        <p:spPr>
          <a:xfrm>
            <a:off x="7961235" y="4232766"/>
            <a:ext cx="534368" cy="276999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/>
          <a:p>
            <a:pPr algn="r"/>
            <a:r>
              <a:rPr lang="en-GB" b="1" dirty="0">
                <a:solidFill>
                  <a:schemeClr val="bg1"/>
                </a:solidFill>
              </a:rPr>
              <a:t>90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E116BF6-BDD6-9045-852A-BC8FF413EDE2}"/>
              </a:ext>
            </a:extLst>
          </p:cNvPr>
          <p:cNvSpPr txBox="1"/>
          <p:nvPr/>
        </p:nvSpPr>
        <p:spPr>
          <a:xfrm>
            <a:off x="1310474" y="4232766"/>
            <a:ext cx="534368" cy="276999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/>
          <a:p>
            <a:pPr algn="r"/>
            <a:r>
              <a:rPr lang="en-GB" dirty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7" name="Textfeld 70">
            <a:extLst>
              <a:ext uri="{FF2B5EF4-FFF2-40B4-BE49-F238E27FC236}">
                <a16:creationId xmlns:a16="http://schemas.microsoft.com/office/drawing/2014/main" id="{18F141B9-1AFA-33A1-19E8-21A136449BD1}"/>
              </a:ext>
            </a:extLst>
          </p:cNvPr>
          <p:cNvSpPr txBox="1"/>
          <p:nvPr/>
        </p:nvSpPr>
        <p:spPr>
          <a:xfrm>
            <a:off x="8093226" y="2664318"/>
            <a:ext cx="535971" cy="215444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400" dirty="0">
                <a:solidFill>
                  <a:schemeClr val="accent6"/>
                </a:solidFill>
              </a:rPr>
              <a:t>+32%</a:t>
            </a:r>
          </a:p>
        </p:txBody>
      </p:sp>
      <p:sp>
        <p:nvSpPr>
          <p:cNvPr id="10" name="Textfeld 70">
            <a:extLst>
              <a:ext uri="{FF2B5EF4-FFF2-40B4-BE49-F238E27FC236}">
                <a16:creationId xmlns:a16="http://schemas.microsoft.com/office/drawing/2014/main" id="{74F97A3E-5AA0-77D6-957C-162809EB54D5}"/>
              </a:ext>
            </a:extLst>
          </p:cNvPr>
          <p:cNvSpPr txBox="1"/>
          <p:nvPr/>
        </p:nvSpPr>
        <p:spPr>
          <a:xfrm>
            <a:off x="7961548" y="3304009"/>
            <a:ext cx="535971" cy="215444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400" dirty="0">
                <a:solidFill>
                  <a:schemeClr val="accent6"/>
                </a:solidFill>
              </a:rPr>
              <a:t>+23%</a:t>
            </a:r>
          </a:p>
        </p:txBody>
      </p:sp>
      <p:sp>
        <p:nvSpPr>
          <p:cNvPr id="38" name="Textfeld 70">
            <a:extLst>
              <a:ext uri="{FF2B5EF4-FFF2-40B4-BE49-F238E27FC236}">
                <a16:creationId xmlns:a16="http://schemas.microsoft.com/office/drawing/2014/main" id="{3984D929-D088-7A39-2F13-DECA9DB58484}"/>
              </a:ext>
            </a:extLst>
          </p:cNvPr>
          <p:cNvSpPr txBox="1"/>
          <p:nvPr/>
        </p:nvSpPr>
        <p:spPr>
          <a:xfrm>
            <a:off x="7959632" y="3943699"/>
            <a:ext cx="535971" cy="215444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400" dirty="0">
                <a:solidFill>
                  <a:schemeClr val="accent6"/>
                </a:solidFill>
              </a:rPr>
              <a:t>+10%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6FC5D3-D288-54C5-C868-45EDC0F0A3B6}"/>
              </a:ext>
            </a:extLst>
          </p:cNvPr>
          <p:cNvSpPr/>
          <p:nvPr/>
        </p:nvSpPr>
        <p:spPr>
          <a:xfrm>
            <a:off x="3561741" y="1700676"/>
            <a:ext cx="2398536" cy="28871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714B49B-7BAD-6B50-AD38-B6D593FAFFD6}"/>
              </a:ext>
            </a:extLst>
          </p:cNvPr>
          <p:cNvSpPr txBox="1"/>
          <p:nvPr/>
        </p:nvSpPr>
        <p:spPr>
          <a:xfrm>
            <a:off x="3635124" y="1965961"/>
            <a:ext cx="2251770" cy="184666"/>
          </a:xfrm>
          <a:prstGeom prst="rect">
            <a:avLst/>
          </a:prstGeom>
          <a:noFill/>
        </p:spPr>
        <p:txBody>
          <a:bodyPr wrap="none" lIns="0" tIns="0" rIns="0" bIns="0" anchor="ctr" anchorCtr="0">
            <a:spAutoFit/>
          </a:bodyPr>
          <a:lstStyle/>
          <a:p>
            <a:pPr algn="ctr"/>
            <a:r>
              <a:rPr lang="en-GB" sz="1200" b="1" dirty="0"/>
              <a:t>Very good and adequate rating</a:t>
            </a:r>
          </a:p>
        </p:txBody>
      </p: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22956F18-180E-FA1B-801A-F751D23B8141}"/>
              </a:ext>
            </a:extLst>
          </p:cNvPr>
          <p:cNvGrpSpPr/>
          <p:nvPr/>
        </p:nvGrpSpPr>
        <p:grpSpPr>
          <a:xfrm>
            <a:off x="4535043" y="1478150"/>
            <a:ext cx="451932" cy="447072"/>
            <a:chOff x="4090416" y="1178874"/>
            <a:chExt cx="566928" cy="560832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2F8BABEA-9AB3-C57E-3025-EE501DA74DA8}"/>
                </a:ext>
              </a:extLst>
            </p:cNvPr>
            <p:cNvSpPr/>
            <p:nvPr/>
          </p:nvSpPr>
          <p:spPr>
            <a:xfrm>
              <a:off x="4090416" y="1178874"/>
              <a:ext cx="566928" cy="56083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56" name="Graphic 52" descr="Bar graph with upward trend outline">
              <a:extLst>
                <a:ext uri="{FF2B5EF4-FFF2-40B4-BE49-F238E27FC236}">
                  <a16:creationId xmlns:a16="http://schemas.microsoft.com/office/drawing/2014/main" id="{9473BBD8-BF8E-10C2-0729-6A1E7C25052C}"/>
                </a:ext>
              </a:extLst>
            </p:cNvPr>
            <p:cNvGrpSpPr/>
            <p:nvPr/>
          </p:nvGrpSpPr>
          <p:grpSpPr>
            <a:xfrm>
              <a:off x="4227068" y="1316796"/>
              <a:ext cx="293624" cy="293624"/>
              <a:chOff x="4227068" y="1316796"/>
              <a:chExt cx="293624" cy="293624"/>
            </a:xfrm>
            <a:solidFill>
              <a:schemeClr val="tx1"/>
            </a:solidFill>
          </p:grpSpPr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E7295345-F981-FF5D-34F8-406CCA8007E3}"/>
                  </a:ext>
                </a:extLst>
              </p:cNvPr>
              <p:cNvSpPr/>
              <p:nvPr/>
            </p:nvSpPr>
            <p:spPr>
              <a:xfrm>
                <a:off x="4227068" y="1316796"/>
                <a:ext cx="293494" cy="293624"/>
              </a:xfrm>
              <a:custGeom>
                <a:avLst/>
                <a:gdLst>
                  <a:gd name="connsiteX0" fmla="*/ 293494 w 293494"/>
                  <a:gd name="connsiteY0" fmla="*/ 284988 h 293624"/>
                  <a:gd name="connsiteX1" fmla="*/ 8636 w 293494"/>
                  <a:gd name="connsiteY1" fmla="*/ 284988 h 293624"/>
                  <a:gd name="connsiteX2" fmla="*/ 8636 w 293494"/>
                  <a:gd name="connsiteY2" fmla="*/ 0 h 293624"/>
                  <a:gd name="connsiteX3" fmla="*/ 0 w 293494"/>
                  <a:gd name="connsiteY3" fmla="*/ 0 h 293624"/>
                  <a:gd name="connsiteX4" fmla="*/ 0 w 293494"/>
                  <a:gd name="connsiteY4" fmla="*/ 293624 h 293624"/>
                  <a:gd name="connsiteX5" fmla="*/ 293494 w 293494"/>
                  <a:gd name="connsiteY5" fmla="*/ 293624 h 293624"/>
                  <a:gd name="connsiteX6" fmla="*/ 293494 w 293494"/>
                  <a:gd name="connsiteY6" fmla="*/ 284988 h 293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3494" h="293624">
                    <a:moveTo>
                      <a:pt x="293494" y="284988"/>
                    </a:moveTo>
                    <a:lnTo>
                      <a:pt x="8636" y="284988"/>
                    </a:lnTo>
                    <a:lnTo>
                      <a:pt x="8636" y="0"/>
                    </a:lnTo>
                    <a:lnTo>
                      <a:pt x="0" y="0"/>
                    </a:lnTo>
                    <a:lnTo>
                      <a:pt x="0" y="293624"/>
                    </a:lnTo>
                    <a:lnTo>
                      <a:pt x="293494" y="293624"/>
                    </a:lnTo>
                    <a:lnTo>
                      <a:pt x="293494" y="284988"/>
                    </a:lnTo>
                    <a:close/>
                  </a:path>
                </a:pathLst>
              </a:custGeom>
              <a:grpFill/>
              <a:ln w="4266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E6F6DA79-2B57-4AFD-D0A2-633FD70A0DB1}"/>
                  </a:ext>
                </a:extLst>
              </p:cNvPr>
              <p:cNvSpPr/>
              <p:nvPr/>
            </p:nvSpPr>
            <p:spPr>
              <a:xfrm>
                <a:off x="4451604" y="1316796"/>
                <a:ext cx="69088" cy="259080"/>
              </a:xfrm>
              <a:custGeom>
                <a:avLst/>
                <a:gdLst>
                  <a:gd name="connsiteX0" fmla="*/ 69088 w 69088"/>
                  <a:gd name="connsiteY0" fmla="*/ 0 h 259080"/>
                  <a:gd name="connsiteX1" fmla="*/ 0 w 69088"/>
                  <a:gd name="connsiteY1" fmla="*/ 0 h 259080"/>
                  <a:gd name="connsiteX2" fmla="*/ 0 w 69088"/>
                  <a:gd name="connsiteY2" fmla="*/ 259080 h 259080"/>
                  <a:gd name="connsiteX3" fmla="*/ 69088 w 69088"/>
                  <a:gd name="connsiteY3" fmla="*/ 259080 h 259080"/>
                  <a:gd name="connsiteX4" fmla="*/ 60452 w 69088"/>
                  <a:gd name="connsiteY4" fmla="*/ 250444 h 259080"/>
                  <a:gd name="connsiteX5" fmla="*/ 8636 w 69088"/>
                  <a:gd name="connsiteY5" fmla="*/ 250444 h 259080"/>
                  <a:gd name="connsiteX6" fmla="*/ 8636 w 69088"/>
                  <a:gd name="connsiteY6" fmla="*/ 8636 h 259080"/>
                  <a:gd name="connsiteX7" fmla="*/ 60452 w 69088"/>
                  <a:gd name="connsiteY7" fmla="*/ 8636 h 259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088" h="259080">
                    <a:moveTo>
                      <a:pt x="69088" y="0"/>
                    </a:moveTo>
                    <a:lnTo>
                      <a:pt x="0" y="0"/>
                    </a:lnTo>
                    <a:lnTo>
                      <a:pt x="0" y="259080"/>
                    </a:lnTo>
                    <a:lnTo>
                      <a:pt x="69088" y="259080"/>
                    </a:lnTo>
                    <a:close/>
                    <a:moveTo>
                      <a:pt x="60452" y="250444"/>
                    </a:moveTo>
                    <a:lnTo>
                      <a:pt x="8636" y="250444"/>
                    </a:lnTo>
                    <a:lnTo>
                      <a:pt x="8636" y="8636"/>
                    </a:lnTo>
                    <a:lnTo>
                      <a:pt x="60452" y="8636"/>
                    </a:lnTo>
                    <a:close/>
                  </a:path>
                </a:pathLst>
              </a:custGeom>
              <a:grpFill/>
              <a:ln w="4266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C45E5FD8-C4FB-009C-5967-B7E469FDC573}"/>
                  </a:ext>
                </a:extLst>
              </p:cNvPr>
              <p:cNvSpPr/>
              <p:nvPr/>
            </p:nvSpPr>
            <p:spPr>
              <a:xfrm>
                <a:off x="4356608" y="1411792"/>
                <a:ext cx="69088" cy="164084"/>
              </a:xfrm>
              <a:custGeom>
                <a:avLst/>
                <a:gdLst>
                  <a:gd name="connsiteX0" fmla="*/ 0 w 69088"/>
                  <a:gd name="connsiteY0" fmla="*/ 164084 h 164084"/>
                  <a:gd name="connsiteX1" fmla="*/ 69088 w 69088"/>
                  <a:gd name="connsiteY1" fmla="*/ 164084 h 164084"/>
                  <a:gd name="connsiteX2" fmla="*/ 69088 w 69088"/>
                  <a:gd name="connsiteY2" fmla="*/ 0 h 164084"/>
                  <a:gd name="connsiteX3" fmla="*/ 0 w 69088"/>
                  <a:gd name="connsiteY3" fmla="*/ 0 h 164084"/>
                  <a:gd name="connsiteX4" fmla="*/ 8636 w 69088"/>
                  <a:gd name="connsiteY4" fmla="*/ 8636 h 164084"/>
                  <a:gd name="connsiteX5" fmla="*/ 60452 w 69088"/>
                  <a:gd name="connsiteY5" fmla="*/ 8636 h 164084"/>
                  <a:gd name="connsiteX6" fmla="*/ 60452 w 69088"/>
                  <a:gd name="connsiteY6" fmla="*/ 155448 h 164084"/>
                  <a:gd name="connsiteX7" fmla="*/ 8636 w 69088"/>
                  <a:gd name="connsiteY7" fmla="*/ 155448 h 164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088" h="164084">
                    <a:moveTo>
                      <a:pt x="0" y="164084"/>
                    </a:moveTo>
                    <a:lnTo>
                      <a:pt x="69088" y="164084"/>
                    </a:lnTo>
                    <a:lnTo>
                      <a:pt x="69088" y="0"/>
                    </a:lnTo>
                    <a:lnTo>
                      <a:pt x="0" y="0"/>
                    </a:lnTo>
                    <a:close/>
                    <a:moveTo>
                      <a:pt x="8636" y="8636"/>
                    </a:moveTo>
                    <a:lnTo>
                      <a:pt x="60452" y="8636"/>
                    </a:lnTo>
                    <a:lnTo>
                      <a:pt x="60452" y="155448"/>
                    </a:lnTo>
                    <a:lnTo>
                      <a:pt x="8636" y="155448"/>
                    </a:lnTo>
                    <a:close/>
                  </a:path>
                </a:pathLst>
              </a:custGeom>
              <a:grpFill/>
              <a:ln w="4266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E33CBCFA-92D3-0544-2B6C-9813E2EABE37}"/>
                  </a:ext>
                </a:extLst>
              </p:cNvPr>
              <p:cNvSpPr/>
              <p:nvPr/>
            </p:nvSpPr>
            <p:spPr>
              <a:xfrm>
                <a:off x="4261612" y="1489516"/>
                <a:ext cx="69088" cy="86360"/>
              </a:xfrm>
              <a:custGeom>
                <a:avLst/>
                <a:gdLst>
                  <a:gd name="connsiteX0" fmla="*/ 0 w 69088"/>
                  <a:gd name="connsiteY0" fmla="*/ 86360 h 86360"/>
                  <a:gd name="connsiteX1" fmla="*/ 69088 w 69088"/>
                  <a:gd name="connsiteY1" fmla="*/ 86360 h 86360"/>
                  <a:gd name="connsiteX2" fmla="*/ 69088 w 69088"/>
                  <a:gd name="connsiteY2" fmla="*/ 0 h 86360"/>
                  <a:gd name="connsiteX3" fmla="*/ 0 w 69088"/>
                  <a:gd name="connsiteY3" fmla="*/ 0 h 86360"/>
                  <a:gd name="connsiteX4" fmla="*/ 8636 w 69088"/>
                  <a:gd name="connsiteY4" fmla="*/ 8636 h 86360"/>
                  <a:gd name="connsiteX5" fmla="*/ 60452 w 69088"/>
                  <a:gd name="connsiteY5" fmla="*/ 8636 h 86360"/>
                  <a:gd name="connsiteX6" fmla="*/ 60452 w 69088"/>
                  <a:gd name="connsiteY6" fmla="*/ 77724 h 86360"/>
                  <a:gd name="connsiteX7" fmla="*/ 8636 w 69088"/>
                  <a:gd name="connsiteY7" fmla="*/ 77724 h 86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9088" h="86360">
                    <a:moveTo>
                      <a:pt x="0" y="86360"/>
                    </a:moveTo>
                    <a:lnTo>
                      <a:pt x="69088" y="86360"/>
                    </a:lnTo>
                    <a:lnTo>
                      <a:pt x="69088" y="0"/>
                    </a:lnTo>
                    <a:lnTo>
                      <a:pt x="0" y="0"/>
                    </a:lnTo>
                    <a:close/>
                    <a:moveTo>
                      <a:pt x="8636" y="8636"/>
                    </a:moveTo>
                    <a:lnTo>
                      <a:pt x="60452" y="8636"/>
                    </a:lnTo>
                    <a:lnTo>
                      <a:pt x="60452" y="77724"/>
                    </a:lnTo>
                    <a:lnTo>
                      <a:pt x="8636" y="77724"/>
                    </a:lnTo>
                    <a:close/>
                  </a:path>
                </a:pathLst>
              </a:custGeom>
              <a:grpFill/>
              <a:ln w="4266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5ACF73EC-E5EE-9B31-9AEE-88999B0C524D}"/>
                  </a:ext>
                </a:extLst>
              </p:cNvPr>
              <p:cNvSpPr/>
              <p:nvPr/>
            </p:nvSpPr>
            <p:spPr>
              <a:xfrm>
                <a:off x="4258559" y="1316796"/>
                <a:ext cx="141241" cy="141228"/>
              </a:xfrm>
              <a:custGeom>
                <a:avLst/>
                <a:gdLst>
                  <a:gd name="connsiteX0" fmla="*/ 6106 w 141241"/>
                  <a:gd name="connsiteY0" fmla="*/ 141229 h 141228"/>
                  <a:gd name="connsiteX1" fmla="*/ 132532 w 141241"/>
                  <a:gd name="connsiteY1" fmla="*/ 14802 h 141228"/>
                  <a:gd name="connsiteX2" fmla="*/ 132593 w 141241"/>
                  <a:gd name="connsiteY2" fmla="*/ 14803 h 141228"/>
                  <a:gd name="connsiteX3" fmla="*/ 132606 w 141241"/>
                  <a:gd name="connsiteY3" fmla="*/ 14832 h 141228"/>
                  <a:gd name="connsiteX4" fmla="*/ 132606 w 141241"/>
                  <a:gd name="connsiteY4" fmla="*/ 56134 h 141228"/>
                  <a:gd name="connsiteX5" fmla="*/ 141242 w 141241"/>
                  <a:gd name="connsiteY5" fmla="*/ 56134 h 141228"/>
                  <a:gd name="connsiteX6" fmla="*/ 141242 w 141241"/>
                  <a:gd name="connsiteY6" fmla="*/ 0 h 141228"/>
                  <a:gd name="connsiteX7" fmla="*/ 85224 w 141241"/>
                  <a:gd name="connsiteY7" fmla="*/ 0 h 141228"/>
                  <a:gd name="connsiteX8" fmla="*/ 85224 w 141241"/>
                  <a:gd name="connsiteY8" fmla="*/ 8636 h 141228"/>
                  <a:gd name="connsiteX9" fmla="*/ 126384 w 141241"/>
                  <a:gd name="connsiteY9" fmla="*/ 8636 h 141228"/>
                  <a:gd name="connsiteX10" fmla="*/ 126426 w 141241"/>
                  <a:gd name="connsiteY10" fmla="*/ 8680 h 141228"/>
                  <a:gd name="connsiteX11" fmla="*/ 126414 w 141241"/>
                  <a:gd name="connsiteY11" fmla="*/ 8709 h 141228"/>
                  <a:gd name="connsiteX12" fmla="*/ 0 w 141241"/>
                  <a:gd name="connsiteY12" fmla="*/ 135123 h 141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1241" h="141228">
                    <a:moveTo>
                      <a:pt x="6106" y="141229"/>
                    </a:moveTo>
                    <a:lnTo>
                      <a:pt x="132532" y="14802"/>
                    </a:lnTo>
                    <a:cubicBezTo>
                      <a:pt x="132549" y="14785"/>
                      <a:pt x="132577" y="14786"/>
                      <a:pt x="132593" y="14803"/>
                    </a:cubicBezTo>
                    <a:cubicBezTo>
                      <a:pt x="132601" y="14811"/>
                      <a:pt x="132606" y="14821"/>
                      <a:pt x="132606" y="14832"/>
                    </a:cubicBezTo>
                    <a:lnTo>
                      <a:pt x="132606" y="56134"/>
                    </a:lnTo>
                    <a:lnTo>
                      <a:pt x="141242" y="56134"/>
                    </a:lnTo>
                    <a:lnTo>
                      <a:pt x="141242" y="0"/>
                    </a:lnTo>
                    <a:lnTo>
                      <a:pt x="85224" y="0"/>
                    </a:lnTo>
                    <a:lnTo>
                      <a:pt x="85224" y="8636"/>
                    </a:lnTo>
                    <a:lnTo>
                      <a:pt x="126384" y="8636"/>
                    </a:lnTo>
                    <a:cubicBezTo>
                      <a:pt x="126407" y="8636"/>
                      <a:pt x="126426" y="8656"/>
                      <a:pt x="126426" y="8680"/>
                    </a:cubicBezTo>
                    <a:cubicBezTo>
                      <a:pt x="126426" y="8691"/>
                      <a:pt x="126422" y="8702"/>
                      <a:pt x="126414" y="8709"/>
                    </a:cubicBezTo>
                    <a:lnTo>
                      <a:pt x="0" y="135123"/>
                    </a:lnTo>
                    <a:close/>
                  </a:path>
                </a:pathLst>
              </a:custGeom>
              <a:grpFill/>
              <a:ln w="4266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4D92F3B7-565D-7EB9-B0AB-60A8571485AD}"/>
              </a:ext>
            </a:extLst>
          </p:cNvPr>
          <p:cNvSpPr txBox="1"/>
          <p:nvPr/>
        </p:nvSpPr>
        <p:spPr>
          <a:xfrm>
            <a:off x="3562677" y="2236194"/>
            <a:ext cx="2397600" cy="432000"/>
          </a:xfrm>
          <a:prstGeom prst="rect">
            <a:avLst/>
          </a:prstGeom>
          <a:noFill/>
        </p:spPr>
        <p:txBody>
          <a:bodyPr wrap="square" lIns="684000" tIns="36000" rIns="36000" bIns="36000" anchor="ctr" anchorCtr="0">
            <a:noAutofit/>
          </a:bodyPr>
          <a:lstStyle/>
          <a:p>
            <a:r>
              <a:rPr lang="en-GB" sz="1100" b="1" dirty="0"/>
              <a:t>Tutorial, FAQ and</a:t>
            </a:r>
            <a:br>
              <a:rPr lang="en-GB" sz="1100" b="1" dirty="0"/>
            </a:br>
            <a:r>
              <a:rPr lang="en-GB" sz="1100" b="1" dirty="0"/>
              <a:t>documenta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087ACC9-BB76-4629-0D0D-6D1DCC1F0C93}"/>
              </a:ext>
            </a:extLst>
          </p:cNvPr>
          <p:cNvSpPr txBox="1"/>
          <p:nvPr/>
        </p:nvSpPr>
        <p:spPr>
          <a:xfrm>
            <a:off x="3562677" y="4155266"/>
            <a:ext cx="2397600" cy="432000"/>
          </a:xfrm>
          <a:prstGeom prst="rect">
            <a:avLst/>
          </a:prstGeom>
          <a:noFill/>
        </p:spPr>
        <p:txBody>
          <a:bodyPr wrap="square" lIns="684000" tIns="36000" rIns="36000" bIns="36000" anchor="ctr" anchorCtr="0">
            <a:noAutofit/>
          </a:bodyPr>
          <a:lstStyle/>
          <a:p>
            <a:r>
              <a:rPr lang="en-GB" sz="1100" b="1" dirty="0"/>
              <a:t>Activation of </a:t>
            </a:r>
            <a:br>
              <a:rPr lang="en-GB" sz="1100" b="1" dirty="0"/>
            </a:br>
            <a:r>
              <a:rPr lang="en-GB" sz="1100" b="1" dirty="0"/>
              <a:t>flow</a:t>
            </a:r>
            <a:endParaRPr lang="en-GB" sz="1100" b="1" strike="sngStrike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9EA4B3-B501-D2A0-F1D9-301A23756F83}"/>
              </a:ext>
            </a:extLst>
          </p:cNvPr>
          <p:cNvSpPr txBox="1"/>
          <p:nvPr/>
        </p:nvSpPr>
        <p:spPr>
          <a:xfrm>
            <a:off x="3562677" y="2875885"/>
            <a:ext cx="2397600" cy="432000"/>
          </a:xfrm>
          <a:prstGeom prst="rect">
            <a:avLst/>
          </a:prstGeom>
          <a:noFill/>
        </p:spPr>
        <p:txBody>
          <a:bodyPr wrap="square" lIns="684000" tIns="36000" rIns="36000" bIns="36000" anchor="ctr" anchorCtr="0">
            <a:noAutofit/>
          </a:bodyPr>
          <a:lstStyle/>
          <a:p>
            <a:r>
              <a:rPr lang="en-GB" sz="1100" b="1" dirty="0"/>
              <a:t>Chat </a:t>
            </a:r>
            <a:br>
              <a:rPr lang="en-GB" sz="1100" b="1" dirty="0"/>
            </a:br>
            <a:r>
              <a:rPr lang="en-GB" sz="1100" b="1" dirty="0"/>
              <a:t>functionalit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1D33B9-834F-65C7-31BB-6F8075F7DCA3}"/>
              </a:ext>
            </a:extLst>
          </p:cNvPr>
          <p:cNvSpPr txBox="1"/>
          <p:nvPr/>
        </p:nvSpPr>
        <p:spPr>
          <a:xfrm>
            <a:off x="3562677" y="3515576"/>
            <a:ext cx="2397600" cy="432000"/>
          </a:xfrm>
          <a:prstGeom prst="rect">
            <a:avLst/>
          </a:prstGeom>
          <a:noFill/>
        </p:spPr>
        <p:txBody>
          <a:bodyPr wrap="square" lIns="684000" tIns="36000" rIns="36000" bIns="36000" anchor="ctr" anchorCtr="0">
            <a:noAutofit/>
          </a:bodyPr>
          <a:lstStyle/>
          <a:p>
            <a:r>
              <a:rPr lang="en-GB" sz="1100" b="1" dirty="0"/>
              <a:t>Access to digital</a:t>
            </a:r>
            <a:br>
              <a:rPr lang="en-GB" sz="1100" b="1" dirty="0"/>
            </a:br>
            <a:r>
              <a:rPr lang="en-GB" sz="1100" b="1" dirty="0"/>
              <a:t>documentation</a:t>
            </a:r>
          </a:p>
        </p:txBody>
      </p: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AB7EE13C-F687-4701-A904-757912B46E51}"/>
              </a:ext>
            </a:extLst>
          </p:cNvPr>
          <p:cNvGrpSpPr>
            <a:grpSpLocks noChangeAspect="1"/>
          </p:cNvGrpSpPr>
          <p:nvPr/>
        </p:nvGrpSpPr>
        <p:grpSpPr>
          <a:xfrm>
            <a:off x="3716155" y="3569576"/>
            <a:ext cx="318447" cy="324000"/>
            <a:chOff x="728133" y="1732777"/>
            <a:chExt cx="353831" cy="360000"/>
          </a:xfrm>
          <a:solidFill>
            <a:schemeClr val="accent5"/>
          </a:solidFill>
        </p:grpSpPr>
        <p:grpSp>
          <p:nvGrpSpPr>
            <p:cNvPr id="95" name="Gruppieren 94">
              <a:extLst>
                <a:ext uri="{FF2B5EF4-FFF2-40B4-BE49-F238E27FC236}">
                  <a16:creationId xmlns:a16="http://schemas.microsoft.com/office/drawing/2014/main" id="{F9B94CB7-C9A9-BBD6-DF3D-DF2539B314B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8133" y="1732777"/>
              <a:ext cx="353831" cy="360000"/>
              <a:chOff x="6092332" y="8485288"/>
              <a:chExt cx="956280" cy="972953"/>
            </a:xfrm>
            <a:grpFill/>
          </p:grpSpPr>
          <p:sp>
            <p:nvSpPr>
              <p:cNvPr id="104" name="Freeform 240">
                <a:extLst>
                  <a:ext uri="{FF2B5EF4-FFF2-40B4-BE49-F238E27FC236}">
                    <a16:creationId xmlns:a16="http://schemas.microsoft.com/office/drawing/2014/main" id="{6E11E6E6-623F-EDCD-A069-9057DCC96F67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092332" y="8655573"/>
                <a:ext cx="434966" cy="713756"/>
              </a:xfrm>
              <a:custGeom>
                <a:avLst/>
                <a:gdLst>
                  <a:gd name="T0" fmla="*/ 27 w 100"/>
                  <a:gd name="T1" fmla="*/ 0 h 95"/>
                  <a:gd name="T2" fmla="*/ 10 w 100"/>
                  <a:gd name="T3" fmla="*/ 0 h 95"/>
                  <a:gd name="T4" fmla="*/ 0 w 100"/>
                  <a:gd name="T5" fmla="*/ 10 h 95"/>
                  <a:gd name="T6" fmla="*/ 0 w 100"/>
                  <a:gd name="T7" fmla="*/ 85 h 95"/>
                  <a:gd name="T8" fmla="*/ 10 w 100"/>
                  <a:gd name="T9" fmla="*/ 95 h 95"/>
                  <a:gd name="T10" fmla="*/ 100 w 100"/>
                  <a:gd name="T1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0" h="95">
                    <a:moveTo>
                      <a:pt x="27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10"/>
                    </a:cubicBezTo>
                    <a:cubicBezTo>
                      <a:pt x="0" y="85"/>
                      <a:pt x="0" y="85"/>
                      <a:pt x="0" y="85"/>
                    </a:cubicBezTo>
                    <a:cubicBezTo>
                      <a:pt x="0" y="90"/>
                      <a:pt x="5" y="95"/>
                      <a:pt x="10" y="95"/>
                    </a:cubicBezTo>
                    <a:cubicBezTo>
                      <a:pt x="100" y="95"/>
                      <a:pt x="100" y="95"/>
                      <a:pt x="100" y="95"/>
                    </a:cubicBezTo>
                  </a:path>
                </a:pathLst>
              </a:custGeom>
              <a:grpFill/>
              <a:ln w="952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>
                  <a:defRPr/>
                </a:pPr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05" name="Freeform 241">
                <a:extLst>
                  <a:ext uri="{FF2B5EF4-FFF2-40B4-BE49-F238E27FC236}">
                    <a16:creationId xmlns:a16="http://schemas.microsoft.com/office/drawing/2014/main" id="{6C9E1C95-40B0-8C27-708A-AE34D655A6A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6209791" y="8485288"/>
                <a:ext cx="592801" cy="714184"/>
              </a:xfrm>
              <a:custGeom>
                <a:avLst/>
                <a:gdLst>
                  <a:gd name="T0" fmla="*/ 136 w 136"/>
                  <a:gd name="T1" fmla="*/ 49 h 95"/>
                  <a:gd name="T2" fmla="*/ 136 w 136"/>
                  <a:gd name="T3" fmla="*/ 10 h 95"/>
                  <a:gd name="T4" fmla="*/ 126 w 136"/>
                  <a:gd name="T5" fmla="*/ 0 h 95"/>
                  <a:gd name="T6" fmla="*/ 11 w 136"/>
                  <a:gd name="T7" fmla="*/ 0 h 95"/>
                  <a:gd name="T8" fmla="*/ 0 w 136"/>
                  <a:gd name="T9" fmla="*/ 10 h 95"/>
                  <a:gd name="T10" fmla="*/ 0 w 136"/>
                  <a:gd name="T11" fmla="*/ 85 h 95"/>
                  <a:gd name="T12" fmla="*/ 11 w 136"/>
                  <a:gd name="T13" fmla="*/ 95 h 95"/>
                  <a:gd name="T14" fmla="*/ 68 w 136"/>
                  <a:gd name="T15" fmla="*/ 95 h 95"/>
                  <a:gd name="connsiteX0" fmla="*/ 9954 w 10041"/>
                  <a:gd name="connsiteY0" fmla="*/ 7230 h 10006"/>
                  <a:gd name="connsiteX1" fmla="*/ 10000 w 10041"/>
                  <a:gd name="connsiteY1" fmla="*/ 1059 h 10006"/>
                  <a:gd name="connsiteX2" fmla="*/ 9265 w 10041"/>
                  <a:gd name="connsiteY2" fmla="*/ 6 h 10006"/>
                  <a:gd name="connsiteX3" fmla="*/ 809 w 10041"/>
                  <a:gd name="connsiteY3" fmla="*/ 6 h 10006"/>
                  <a:gd name="connsiteX4" fmla="*/ 0 w 10041"/>
                  <a:gd name="connsiteY4" fmla="*/ 1059 h 10006"/>
                  <a:gd name="connsiteX5" fmla="*/ 0 w 10041"/>
                  <a:gd name="connsiteY5" fmla="*/ 8953 h 10006"/>
                  <a:gd name="connsiteX6" fmla="*/ 809 w 10041"/>
                  <a:gd name="connsiteY6" fmla="*/ 10006 h 10006"/>
                  <a:gd name="connsiteX7" fmla="*/ 5000 w 10041"/>
                  <a:gd name="connsiteY7" fmla="*/ 10006 h 10006"/>
                  <a:gd name="connsiteX0" fmla="*/ 9954 w 10000"/>
                  <a:gd name="connsiteY0" fmla="*/ 7230 h 10006"/>
                  <a:gd name="connsiteX1" fmla="*/ 10000 w 10000"/>
                  <a:gd name="connsiteY1" fmla="*/ 1059 h 10006"/>
                  <a:gd name="connsiteX2" fmla="*/ 9265 w 10000"/>
                  <a:gd name="connsiteY2" fmla="*/ 6 h 10006"/>
                  <a:gd name="connsiteX3" fmla="*/ 809 w 10000"/>
                  <a:gd name="connsiteY3" fmla="*/ 6 h 10006"/>
                  <a:gd name="connsiteX4" fmla="*/ 0 w 10000"/>
                  <a:gd name="connsiteY4" fmla="*/ 1059 h 10006"/>
                  <a:gd name="connsiteX5" fmla="*/ 0 w 10000"/>
                  <a:gd name="connsiteY5" fmla="*/ 8953 h 10006"/>
                  <a:gd name="connsiteX6" fmla="*/ 809 w 10000"/>
                  <a:gd name="connsiteY6" fmla="*/ 10006 h 10006"/>
                  <a:gd name="connsiteX7" fmla="*/ 5000 w 10000"/>
                  <a:gd name="connsiteY7" fmla="*/ 10006 h 10006"/>
                  <a:gd name="connsiteX0" fmla="*/ 9954 w 10000"/>
                  <a:gd name="connsiteY0" fmla="*/ 8398 h 10006"/>
                  <a:gd name="connsiteX1" fmla="*/ 10000 w 10000"/>
                  <a:gd name="connsiteY1" fmla="*/ 1059 h 10006"/>
                  <a:gd name="connsiteX2" fmla="*/ 9265 w 10000"/>
                  <a:gd name="connsiteY2" fmla="*/ 6 h 10006"/>
                  <a:gd name="connsiteX3" fmla="*/ 809 w 10000"/>
                  <a:gd name="connsiteY3" fmla="*/ 6 h 10006"/>
                  <a:gd name="connsiteX4" fmla="*/ 0 w 10000"/>
                  <a:gd name="connsiteY4" fmla="*/ 1059 h 10006"/>
                  <a:gd name="connsiteX5" fmla="*/ 0 w 10000"/>
                  <a:gd name="connsiteY5" fmla="*/ 8953 h 10006"/>
                  <a:gd name="connsiteX6" fmla="*/ 809 w 10000"/>
                  <a:gd name="connsiteY6" fmla="*/ 10006 h 10006"/>
                  <a:gd name="connsiteX7" fmla="*/ 5000 w 10000"/>
                  <a:gd name="connsiteY7" fmla="*/ 10006 h 10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00" h="10006">
                    <a:moveTo>
                      <a:pt x="9954" y="8398"/>
                    </a:moveTo>
                    <a:cubicBezTo>
                      <a:pt x="9969" y="6341"/>
                      <a:pt x="9985" y="3116"/>
                      <a:pt x="10000" y="1059"/>
                    </a:cubicBezTo>
                    <a:cubicBezTo>
                      <a:pt x="9885" y="-145"/>
                      <a:pt x="9706" y="6"/>
                      <a:pt x="9265" y="6"/>
                    </a:cubicBezTo>
                    <a:lnTo>
                      <a:pt x="809" y="6"/>
                    </a:lnTo>
                    <a:cubicBezTo>
                      <a:pt x="368" y="6"/>
                      <a:pt x="0" y="427"/>
                      <a:pt x="0" y="1059"/>
                    </a:cubicBezTo>
                    <a:lnTo>
                      <a:pt x="0" y="8953"/>
                    </a:lnTo>
                    <a:cubicBezTo>
                      <a:pt x="0" y="9480"/>
                      <a:pt x="368" y="10006"/>
                      <a:pt x="809" y="10006"/>
                    </a:cubicBezTo>
                    <a:lnTo>
                      <a:pt x="5000" y="10006"/>
                    </a:lnTo>
                  </a:path>
                </a:pathLst>
              </a:custGeom>
              <a:grpFill/>
              <a:ln w="952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>
                  <a:defRPr/>
                </a:pPr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06" name="Pfeil: nach rechts 105">
                <a:extLst>
                  <a:ext uri="{FF2B5EF4-FFF2-40B4-BE49-F238E27FC236}">
                    <a16:creationId xmlns:a16="http://schemas.microsoft.com/office/drawing/2014/main" id="{9E25DA5A-C164-6CD6-7473-388C8096E6B4}"/>
                  </a:ext>
                </a:extLst>
              </p:cNvPr>
              <p:cNvSpPr/>
              <p:nvPr/>
            </p:nvSpPr>
            <p:spPr>
              <a:xfrm>
                <a:off x="6612585" y="9109793"/>
                <a:ext cx="436027" cy="348448"/>
              </a:xfrm>
              <a:prstGeom prst="rightArrow">
                <a:avLst/>
              </a:prstGeom>
              <a:grpFill/>
              <a:ln w="952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</p:grpSp>
        <p:grpSp>
          <p:nvGrpSpPr>
            <p:cNvPr id="96" name="Gruppieren 95">
              <a:extLst>
                <a:ext uri="{FF2B5EF4-FFF2-40B4-BE49-F238E27FC236}">
                  <a16:creationId xmlns:a16="http://schemas.microsoft.com/office/drawing/2014/main" id="{1D33F4E2-C515-3FBC-DA15-867AF1EF3A93}"/>
                </a:ext>
              </a:extLst>
            </p:cNvPr>
            <p:cNvGrpSpPr/>
            <p:nvPr/>
          </p:nvGrpSpPr>
          <p:grpSpPr>
            <a:xfrm>
              <a:off x="805929" y="1768582"/>
              <a:ext cx="159265" cy="188375"/>
              <a:chOff x="231646" y="1768582"/>
              <a:chExt cx="159265" cy="188375"/>
            </a:xfrm>
            <a:grpFill/>
          </p:grpSpPr>
          <p:sp>
            <p:nvSpPr>
              <p:cNvPr id="97" name="Rectangle 228">
                <a:extLst>
                  <a:ext uri="{FF2B5EF4-FFF2-40B4-BE49-F238E27FC236}">
                    <a16:creationId xmlns:a16="http://schemas.microsoft.com/office/drawing/2014/main" id="{B8861A47-0A68-2BC7-92EF-A8330A109931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231647" y="1768582"/>
                <a:ext cx="33269" cy="36397"/>
              </a:xfrm>
              <a:prstGeom prst="rect">
                <a:avLst/>
              </a:prstGeom>
              <a:grpFill/>
              <a:ln w="952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98" name="Line 229">
                <a:extLst>
                  <a:ext uri="{FF2B5EF4-FFF2-40B4-BE49-F238E27FC236}">
                    <a16:creationId xmlns:a16="http://schemas.microsoft.com/office/drawing/2014/main" id="{11FABBED-E1D1-6B12-BAD3-0BE726C79102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345609" y="1781473"/>
                <a:ext cx="45302" cy="0"/>
              </a:xfrm>
              <a:prstGeom prst="line">
                <a:avLst/>
              </a:prstGeom>
              <a:grpFill/>
              <a:ln w="952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99" name="Line 230">
                <a:extLst>
                  <a:ext uri="{FF2B5EF4-FFF2-40B4-BE49-F238E27FC236}">
                    <a16:creationId xmlns:a16="http://schemas.microsoft.com/office/drawing/2014/main" id="{44263E75-168B-E7E5-AF7E-60F29D5280D8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231646" y="1872321"/>
                <a:ext cx="153601" cy="0"/>
              </a:xfrm>
              <a:prstGeom prst="line">
                <a:avLst/>
              </a:prstGeom>
              <a:grpFill/>
              <a:ln w="952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00" name="Line 231">
                <a:extLst>
                  <a:ext uri="{FF2B5EF4-FFF2-40B4-BE49-F238E27FC236}">
                    <a16:creationId xmlns:a16="http://schemas.microsoft.com/office/drawing/2014/main" id="{95D38658-5117-2BDD-1932-F91C580AFB0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276948" y="1830002"/>
                <a:ext cx="21943" cy="0"/>
              </a:xfrm>
              <a:prstGeom prst="line">
                <a:avLst/>
              </a:prstGeom>
              <a:grpFill/>
              <a:ln w="952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01" name="Line 232">
                <a:extLst>
                  <a:ext uri="{FF2B5EF4-FFF2-40B4-BE49-F238E27FC236}">
                    <a16:creationId xmlns:a16="http://schemas.microsoft.com/office/drawing/2014/main" id="{03EF71AA-3CCA-9A1E-3698-45AAF05EEC2B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231647" y="1830002"/>
                <a:ext cx="21943" cy="0"/>
              </a:xfrm>
              <a:prstGeom prst="line">
                <a:avLst/>
              </a:prstGeom>
              <a:grpFill/>
              <a:ln w="952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02" name="Line 230">
                <a:extLst>
                  <a:ext uri="{FF2B5EF4-FFF2-40B4-BE49-F238E27FC236}">
                    <a16:creationId xmlns:a16="http://schemas.microsoft.com/office/drawing/2014/main" id="{D05F9B2B-3271-C7C7-32F7-27E8862ACB07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231647" y="1914639"/>
                <a:ext cx="87065" cy="0"/>
              </a:xfrm>
              <a:prstGeom prst="line">
                <a:avLst/>
              </a:prstGeom>
              <a:grpFill/>
              <a:ln w="952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  <p:sp>
            <p:nvSpPr>
              <p:cNvPr id="103" name="Line 230">
                <a:extLst>
                  <a:ext uri="{FF2B5EF4-FFF2-40B4-BE49-F238E27FC236}">
                    <a16:creationId xmlns:a16="http://schemas.microsoft.com/office/drawing/2014/main" id="{9B4A558C-13E0-142E-1B4C-00250F205655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231647" y="1956957"/>
                <a:ext cx="45302" cy="0"/>
              </a:xfrm>
              <a:prstGeom prst="line">
                <a:avLst/>
              </a:prstGeom>
              <a:grpFill/>
              <a:ln w="9525" cap="flat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/>
                <a:endParaRPr lang="en-GB" kern="0" dirty="0">
                  <a:solidFill>
                    <a:srgbClr val="404955"/>
                  </a:solidFill>
                  <a:latin typeface="Arial"/>
                </a:endParaRPr>
              </a:p>
            </p:txBody>
          </p:sp>
        </p:grpSp>
      </p:grpSp>
      <p:grpSp>
        <p:nvGrpSpPr>
          <p:cNvPr id="107" name="Gruppieren 106">
            <a:extLst>
              <a:ext uri="{FF2B5EF4-FFF2-40B4-BE49-F238E27FC236}">
                <a16:creationId xmlns:a16="http://schemas.microsoft.com/office/drawing/2014/main" id="{89645B7B-D7D0-CD56-48A2-128045A16BB7}"/>
              </a:ext>
            </a:extLst>
          </p:cNvPr>
          <p:cNvGrpSpPr>
            <a:grpSpLocks noChangeAspect="1"/>
          </p:cNvGrpSpPr>
          <p:nvPr/>
        </p:nvGrpSpPr>
        <p:grpSpPr>
          <a:xfrm>
            <a:off x="3720918" y="2290194"/>
            <a:ext cx="308920" cy="324000"/>
            <a:chOff x="5887215" y="4488439"/>
            <a:chExt cx="312290" cy="327536"/>
          </a:xfrm>
          <a:solidFill>
            <a:schemeClr val="accent5"/>
          </a:solidFill>
        </p:grpSpPr>
        <p:grpSp>
          <p:nvGrpSpPr>
            <p:cNvPr id="108" name="Gruppieren 107">
              <a:extLst>
                <a:ext uri="{FF2B5EF4-FFF2-40B4-BE49-F238E27FC236}">
                  <a16:creationId xmlns:a16="http://schemas.microsoft.com/office/drawing/2014/main" id="{192D51C7-D4EE-A0BF-8BA7-BF1225677DF4}"/>
                </a:ext>
              </a:extLst>
            </p:cNvPr>
            <p:cNvGrpSpPr/>
            <p:nvPr/>
          </p:nvGrpSpPr>
          <p:grpSpPr>
            <a:xfrm>
              <a:off x="5922285" y="4488439"/>
              <a:ext cx="242150" cy="149227"/>
              <a:chOff x="5911598" y="4488439"/>
              <a:chExt cx="242150" cy="149227"/>
            </a:xfrm>
            <a:grpFill/>
          </p:grpSpPr>
          <p:grpSp>
            <p:nvGrpSpPr>
              <p:cNvPr id="110" name="Gruppieren 109">
                <a:extLst>
                  <a:ext uri="{FF2B5EF4-FFF2-40B4-BE49-F238E27FC236}">
                    <a16:creationId xmlns:a16="http://schemas.microsoft.com/office/drawing/2014/main" id="{C8131879-E32B-C437-270D-D644166D7016}"/>
                  </a:ext>
                </a:extLst>
              </p:cNvPr>
              <p:cNvGrpSpPr/>
              <p:nvPr/>
            </p:nvGrpSpPr>
            <p:grpSpPr>
              <a:xfrm>
                <a:off x="5965585" y="4502487"/>
                <a:ext cx="188163" cy="135179"/>
                <a:chOff x="6759990" y="1548174"/>
                <a:chExt cx="262348" cy="188474"/>
              </a:xfrm>
              <a:grpFill/>
            </p:grpSpPr>
            <p:sp>
              <p:nvSpPr>
                <p:cNvPr id="116" name="AutoShape 1420">
                  <a:extLst>
                    <a:ext uri="{FF2B5EF4-FFF2-40B4-BE49-F238E27FC236}">
                      <a16:creationId xmlns:a16="http://schemas.microsoft.com/office/drawing/2014/main" id="{0975802F-38C7-9724-A115-5E89876621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59990" y="1548174"/>
                  <a:ext cx="262348" cy="188474"/>
                </a:xfrm>
                <a:prstGeom prst="rect">
                  <a:avLst/>
                </a:prstGeom>
                <a:grpFill/>
                <a:ln w="9525" cap="flat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altLang="de-DE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117" name="Gruppieren 116">
                  <a:extLst>
                    <a:ext uri="{FF2B5EF4-FFF2-40B4-BE49-F238E27FC236}">
                      <a16:creationId xmlns:a16="http://schemas.microsoft.com/office/drawing/2014/main" id="{F94689C9-5771-07DD-FD3C-BE3A352D3069}"/>
                    </a:ext>
                  </a:extLst>
                </p:cNvPr>
                <p:cNvGrpSpPr/>
                <p:nvPr/>
              </p:nvGrpSpPr>
              <p:grpSpPr>
                <a:xfrm>
                  <a:off x="6783517" y="1601416"/>
                  <a:ext cx="208801" cy="48177"/>
                  <a:chOff x="6783519" y="1601416"/>
                  <a:chExt cx="528963" cy="48177"/>
                </a:xfrm>
                <a:grpFill/>
              </p:grpSpPr>
              <p:sp>
                <p:nvSpPr>
                  <p:cNvPr id="118" name="Line 1421">
                    <a:extLst>
                      <a:ext uri="{FF2B5EF4-FFF2-40B4-BE49-F238E27FC236}">
                        <a16:creationId xmlns:a16="http://schemas.microsoft.com/office/drawing/2014/main" id="{8504CF3B-F48A-34D6-A320-EA1A3188336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783519" y="1601416"/>
                    <a:ext cx="528963" cy="0"/>
                  </a:xfrm>
                  <a:prstGeom prst="line">
                    <a:avLst/>
                  </a:prstGeom>
                  <a:grpFill/>
                  <a:ln w="9525" cap="flat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kern="0" dirty="0">
                      <a:solidFill>
                        <a:srgbClr val="404955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119" name="Line 1422">
                    <a:extLst>
                      <a:ext uri="{FF2B5EF4-FFF2-40B4-BE49-F238E27FC236}">
                        <a16:creationId xmlns:a16="http://schemas.microsoft.com/office/drawing/2014/main" id="{6B6D4FC7-AE63-BCAF-AC07-15B555F3930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783519" y="1649593"/>
                    <a:ext cx="528960" cy="0"/>
                  </a:xfrm>
                  <a:prstGeom prst="line">
                    <a:avLst/>
                  </a:prstGeom>
                  <a:grpFill/>
                  <a:ln w="9525" cap="flat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kern="0" dirty="0">
                      <a:solidFill>
                        <a:srgbClr val="404955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111" name="Gruppieren 110">
                <a:extLst>
                  <a:ext uri="{FF2B5EF4-FFF2-40B4-BE49-F238E27FC236}">
                    <a16:creationId xmlns:a16="http://schemas.microsoft.com/office/drawing/2014/main" id="{D2E9016A-067E-C3B8-5AE8-BB2FE6B40B5D}"/>
                  </a:ext>
                </a:extLst>
              </p:cNvPr>
              <p:cNvGrpSpPr/>
              <p:nvPr/>
            </p:nvGrpSpPr>
            <p:grpSpPr>
              <a:xfrm>
                <a:off x="5911598" y="4488439"/>
                <a:ext cx="188163" cy="135179"/>
                <a:chOff x="6759990" y="1548174"/>
                <a:chExt cx="262348" cy="188474"/>
              </a:xfrm>
              <a:grpFill/>
            </p:grpSpPr>
            <p:sp>
              <p:nvSpPr>
                <p:cNvPr id="112" name="AutoShape 1420">
                  <a:extLst>
                    <a:ext uri="{FF2B5EF4-FFF2-40B4-BE49-F238E27FC236}">
                      <a16:creationId xmlns:a16="http://schemas.microsoft.com/office/drawing/2014/main" id="{3A9001DF-ABB9-A21B-E7EC-6F5105D563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59990" y="1548174"/>
                  <a:ext cx="262348" cy="188474"/>
                </a:xfrm>
                <a:prstGeom prst="rect">
                  <a:avLst/>
                </a:prstGeom>
                <a:grpFill/>
                <a:ln w="9525" cap="flat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altLang="de-DE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grpSp>
              <p:nvGrpSpPr>
                <p:cNvPr id="113" name="Gruppieren 112">
                  <a:extLst>
                    <a:ext uri="{FF2B5EF4-FFF2-40B4-BE49-F238E27FC236}">
                      <a16:creationId xmlns:a16="http://schemas.microsoft.com/office/drawing/2014/main" id="{E49B7ECA-CA8D-BF15-CD80-EF57299C2A8C}"/>
                    </a:ext>
                  </a:extLst>
                </p:cNvPr>
                <p:cNvGrpSpPr/>
                <p:nvPr/>
              </p:nvGrpSpPr>
              <p:grpSpPr>
                <a:xfrm>
                  <a:off x="6783517" y="1601416"/>
                  <a:ext cx="208801" cy="48177"/>
                  <a:chOff x="6783519" y="1601416"/>
                  <a:chExt cx="528963" cy="48177"/>
                </a:xfrm>
                <a:grpFill/>
              </p:grpSpPr>
              <p:sp>
                <p:nvSpPr>
                  <p:cNvPr id="114" name="Line 1421">
                    <a:extLst>
                      <a:ext uri="{FF2B5EF4-FFF2-40B4-BE49-F238E27FC236}">
                        <a16:creationId xmlns:a16="http://schemas.microsoft.com/office/drawing/2014/main" id="{3A8DBA79-4285-9A41-7D91-28764EE12D6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783519" y="1601416"/>
                    <a:ext cx="528963" cy="0"/>
                  </a:xfrm>
                  <a:prstGeom prst="line">
                    <a:avLst/>
                  </a:prstGeom>
                  <a:grpFill/>
                  <a:ln w="9525" cap="flat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kern="0" dirty="0">
                      <a:solidFill>
                        <a:srgbClr val="404955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115" name="Line 1422">
                    <a:extLst>
                      <a:ext uri="{FF2B5EF4-FFF2-40B4-BE49-F238E27FC236}">
                        <a16:creationId xmlns:a16="http://schemas.microsoft.com/office/drawing/2014/main" id="{AE9B1CDB-EEF5-C20D-A052-E585E7F7EA2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783519" y="1649593"/>
                    <a:ext cx="528960" cy="0"/>
                  </a:xfrm>
                  <a:prstGeom prst="line">
                    <a:avLst/>
                  </a:prstGeom>
                  <a:grpFill/>
                  <a:ln w="9525" cap="flat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0" tIns="0" rIns="0" bIns="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kern="0" dirty="0">
                      <a:solidFill>
                        <a:srgbClr val="404955"/>
                      </a:solidFill>
                      <a:latin typeface="Arial"/>
                    </a:endParaRPr>
                  </a:p>
                </p:txBody>
              </p:sp>
            </p:grpSp>
          </p:grpSp>
        </p:grpSp>
        <p:sp>
          <p:nvSpPr>
            <p:cNvPr id="109" name="Freihandform 327">
              <a:extLst>
                <a:ext uri="{FF2B5EF4-FFF2-40B4-BE49-F238E27FC236}">
                  <a16:creationId xmlns:a16="http://schemas.microsoft.com/office/drawing/2014/main" id="{9C30E2BB-C36F-2C05-C69C-A4F34560CB3E}"/>
                </a:ext>
              </a:extLst>
            </p:cNvPr>
            <p:cNvSpPr/>
            <p:nvPr/>
          </p:nvSpPr>
          <p:spPr>
            <a:xfrm>
              <a:off x="5887215" y="4593120"/>
              <a:ext cx="312290" cy="222855"/>
            </a:xfrm>
            <a:custGeom>
              <a:avLst/>
              <a:gdLst>
                <a:gd name="connsiteX0" fmla="*/ 57949 w 4438079"/>
                <a:gd name="connsiteY0" fmla="*/ 0 h 3167089"/>
                <a:gd name="connsiteX1" fmla="*/ 2543799 w 4438079"/>
                <a:gd name="connsiteY1" fmla="*/ 0 h 3167089"/>
                <a:gd name="connsiteX2" fmla="*/ 2601748 w 4438079"/>
                <a:gd name="connsiteY2" fmla="*/ 57949 h 3167089"/>
                <a:gd name="connsiteX3" fmla="*/ 2601748 w 4438079"/>
                <a:gd name="connsiteY3" fmla="*/ 328639 h 3167089"/>
                <a:gd name="connsiteX4" fmla="*/ 4438079 w 4438079"/>
                <a:gd name="connsiteY4" fmla="*/ 328639 h 3167089"/>
                <a:gd name="connsiteX5" fmla="*/ 4438079 w 4438079"/>
                <a:gd name="connsiteY5" fmla="*/ 3167089 h 3167089"/>
                <a:gd name="connsiteX6" fmla="*/ 0 w 4438079"/>
                <a:gd name="connsiteY6" fmla="*/ 3167089 h 3167089"/>
                <a:gd name="connsiteX7" fmla="*/ 0 w 4438079"/>
                <a:gd name="connsiteY7" fmla="*/ 347689 h 3167089"/>
                <a:gd name="connsiteX8" fmla="*/ 0 w 4438079"/>
                <a:gd name="connsiteY8" fmla="*/ 328639 h 3167089"/>
                <a:gd name="connsiteX9" fmla="*/ 0 w 4438079"/>
                <a:gd name="connsiteY9" fmla="*/ 57949 h 3167089"/>
                <a:gd name="connsiteX10" fmla="*/ 57949 w 4438079"/>
                <a:gd name="connsiteY10" fmla="*/ 0 h 3167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38079" h="3167089">
                  <a:moveTo>
                    <a:pt x="57949" y="0"/>
                  </a:moveTo>
                  <a:lnTo>
                    <a:pt x="2543799" y="0"/>
                  </a:lnTo>
                  <a:cubicBezTo>
                    <a:pt x="2575803" y="0"/>
                    <a:pt x="2601748" y="25945"/>
                    <a:pt x="2601748" y="57949"/>
                  </a:cubicBezTo>
                  <a:lnTo>
                    <a:pt x="2601748" y="328639"/>
                  </a:lnTo>
                  <a:lnTo>
                    <a:pt x="4438079" y="328639"/>
                  </a:lnTo>
                  <a:lnTo>
                    <a:pt x="4438079" y="3167089"/>
                  </a:lnTo>
                  <a:lnTo>
                    <a:pt x="0" y="3167089"/>
                  </a:lnTo>
                  <a:lnTo>
                    <a:pt x="0" y="347689"/>
                  </a:lnTo>
                  <a:lnTo>
                    <a:pt x="0" y="328639"/>
                  </a:lnTo>
                  <a:lnTo>
                    <a:pt x="0" y="57949"/>
                  </a:lnTo>
                  <a:cubicBezTo>
                    <a:pt x="0" y="25945"/>
                    <a:pt x="25945" y="0"/>
                    <a:pt x="57949" y="0"/>
                  </a:cubicBezTo>
                  <a:close/>
                </a:path>
              </a:pathLst>
            </a:custGeom>
            <a:grpFill/>
            <a:ln w="9525" cap="flat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GB" kern="0" dirty="0">
                <a:solidFill>
                  <a:srgbClr val="404955"/>
                </a:solidFill>
                <a:latin typeface="Arial"/>
              </a:endParaRPr>
            </a:p>
          </p:txBody>
        </p:sp>
      </p:grpSp>
      <p:grpSp>
        <p:nvGrpSpPr>
          <p:cNvPr id="120" name="Gruppieren 85">
            <a:extLst>
              <a:ext uri="{FF2B5EF4-FFF2-40B4-BE49-F238E27FC236}">
                <a16:creationId xmlns:a16="http://schemas.microsoft.com/office/drawing/2014/main" id="{E9D19064-93D4-F678-EDF4-F9C17683DC51}"/>
              </a:ext>
            </a:extLst>
          </p:cNvPr>
          <p:cNvGrpSpPr>
            <a:grpSpLocks noChangeAspect="1"/>
          </p:cNvGrpSpPr>
          <p:nvPr/>
        </p:nvGrpSpPr>
        <p:grpSpPr>
          <a:xfrm>
            <a:off x="3670594" y="2929885"/>
            <a:ext cx="409569" cy="324000"/>
            <a:chOff x="438151" y="6762750"/>
            <a:chExt cx="782638" cy="619125"/>
          </a:xfrm>
          <a:solidFill>
            <a:schemeClr val="accent5"/>
          </a:solidFill>
        </p:grpSpPr>
        <p:sp>
          <p:nvSpPr>
            <p:cNvPr id="121" name="Freeform 798">
              <a:extLst>
                <a:ext uri="{FF2B5EF4-FFF2-40B4-BE49-F238E27FC236}">
                  <a16:creationId xmlns:a16="http://schemas.microsoft.com/office/drawing/2014/main" id="{64D2E210-C39B-F976-DB6E-EC418FCF2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1" y="6762750"/>
              <a:ext cx="647700" cy="619125"/>
            </a:xfrm>
            <a:custGeom>
              <a:avLst/>
              <a:gdLst>
                <a:gd name="T0" fmla="*/ 204 w 204"/>
                <a:gd name="T1" fmla="*/ 95 h 195"/>
                <a:gd name="T2" fmla="*/ 204 w 204"/>
                <a:gd name="T3" fmla="*/ 3 h 195"/>
                <a:gd name="T4" fmla="*/ 200 w 204"/>
                <a:gd name="T5" fmla="*/ 0 h 195"/>
                <a:gd name="T6" fmla="*/ 3 w 204"/>
                <a:gd name="T7" fmla="*/ 0 h 195"/>
                <a:gd name="T8" fmla="*/ 0 w 204"/>
                <a:gd name="T9" fmla="*/ 3 h 195"/>
                <a:gd name="T10" fmla="*/ 0 w 204"/>
                <a:gd name="T11" fmla="*/ 147 h 195"/>
                <a:gd name="T12" fmla="*/ 3 w 204"/>
                <a:gd name="T13" fmla="*/ 150 h 195"/>
                <a:gd name="T14" fmla="*/ 46 w 204"/>
                <a:gd name="T15" fmla="*/ 150 h 195"/>
                <a:gd name="T16" fmla="*/ 50 w 204"/>
                <a:gd name="T17" fmla="*/ 154 h 195"/>
                <a:gd name="T18" fmla="*/ 50 w 204"/>
                <a:gd name="T19" fmla="*/ 191 h 195"/>
                <a:gd name="T20" fmla="*/ 56 w 204"/>
                <a:gd name="T21" fmla="*/ 193 h 195"/>
                <a:gd name="T22" fmla="*/ 97 w 204"/>
                <a:gd name="T23" fmla="*/ 151 h 195"/>
                <a:gd name="T24" fmla="*/ 100 w 204"/>
                <a:gd name="T25" fmla="*/ 150 h 195"/>
                <a:gd name="T26" fmla="*/ 142 w 204"/>
                <a:gd name="T27" fmla="*/ 15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95">
                  <a:moveTo>
                    <a:pt x="204" y="95"/>
                  </a:moveTo>
                  <a:cubicBezTo>
                    <a:pt x="204" y="3"/>
                    <a:pt x="204" y="3"/>
                    <a:pt x="204" y="3"/>
                  </a:cubicBezTo>
                  <a:cubicBezTo>
                    <a:pt x="204" y="1"/>
                    <a:pt x="202" y="0"/>
                    <a:pt x="20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9"/>
                    <a:pt x="1" y="150"/>
                    <a:pt x="3" y="150"/>
                  </a:cubicBezTo>
                  <a:cubicBezTo>
                    <a:pt x="46" y="150"/>
                    <a:pt x="46" y="150"/>
                    <a:pt x="46" y="150"/>
                  </a:cubicBezTo>
                  <a:cubicBezTo>
                    <a:pt x="48" y="150"/>
                    <a:pt x="50" y="152"/>
                    <a:pt x="50" y="154"/>
                  </a:cubicBezTo>
                  <a:cubicBezTo>
                    <a:pt x="50" y="191"/>
                    <a:pt x="50" y="191"/>
                    <a:pt x="50" y="191"/>
                  </a:cubicBezTo>
                  <a:cubicBezTo>
                    <a:pt x="50" y="194"/>
                    <a:pt x="53" y="195"/>
                    <a:pt x="56" y="193"/>
                  </a:cubicBezTo>
                  <a:cubicBezTo>
                    <a:pt x="97" y="151"/>
                    <a:pt x="97" y="151"/>
                    <a:pt x="97" y="151"/>
                  </a:cubicBezTo>
                  <a:cubicBezTo>
                    <a:pt x="98" y="151"/>
                    <a:pt x="99" y="150"/>
                    <a:pt x="100" y="150"/>
                  </a:cubicBezTo>
                  <a:cubicBezTo>
                    <a:pt x="142" y="150"/>
                    <a:pt x="142" y="150"/>
                    <a:pt x="142" y="150"/>
                  </a:cubicBezTo>
                </a:path>
              </a:pathLst>
            </a:custGeom>
            <a:grp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2" name="Freeform 799">
              <a:extLst>
                <a:ext uri="{FF2B5EF4-FFF2-40B4-BE49-F238E27FC236}">
                  <a16:creationId xmlns:a16="http://schemas.microsoft.com/office/drawing/2014/main" id="{5B877401-3994-D5DD-7ABD-CAD696FB1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9001" y="7064375"/>
              <a:ext cx="331788" cy="317500"/>
            </a:xfrm>
            <a:custGeom>
              <a:avLst/>
              <a:gdLst>
                <a:gd name="T0" fmla="*/ 2 w 104"/>
                <a:gd name="T1" fmla="*/ 0 h 100"/>
                <a:gd name="T2" fmla="*/ 102 w 104"/>
                <a:gd name="T3" fmla="*/ 0 h 100"/>
                <a:gd name="T4" fmla="*/ 104 w 104"/>
                <a:gd name="T5" fmla="*/ 2 h 100"/>
                <a:gd name="T6" fmla="*/ 104 w 104"/>
                <a:gd name="T7" fmla="*/ 75 h 100"/>
                <a:gd name="T8" fmla="*/ 102 w 104"/>
                <a:gd name="T9" fmla="*/ 77 h 100"/>
                <a:gd name="T10" fmla="*/ 80 w 104"/>
                <a:gd name="T11" fmla="*/ 77 h 100"/>
                <a:gd name="T12" fmla="*/ 79 w 104"/>
                <a:gd name="T13" fmla="*/ 79 h 100"/>
                <a:gd name="T14" fmla="*/ 79 w 104"/>
                <a:gd name="T15" fmla="*/ 98 h 100"/>
                <a:gd name="T16" fmla="*/ 76 w 104"/>
                <a:gd name="T17" fmla="*/ 99 h 100"/>
                <a:gd name="T18" fmla="*/ 54 w 104"/>
                <a:gd name="T19" fmla="*/ 77 h 100"/>
                <a:gd name="T20" fmla="*/ 53 w 104"/>
                <a:gd name="T21" fmla="*/ 77 h 100"/>
                <a:gd name="T22" fmla="*/ 2 w 104"/>
                <a:gd name="T23" fmla="*/ 77 h 100"/>
                <a:gd name="T24" fmla="*/ 0 w 104"/>
                <a:gd name="T25" fmla="*/ 75 h 100"/>
                <a:gd name="T26" fmla="*/ 0 w 104"/>
                <a:gd name="T27" fmla="*/ 2 h 100"/>
                <a:gd name="T28" fmla="*/ 2 w 104"/>
                <a:gd name="T2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0">
                  <a:moveTo>
                    <a:pt x="2" y="0"/>
                  </a:moveTo>
                  <a:cubicBezTo>
                    <a:pt x="102" y="0"/>
                    <a:pt x="102" y="0"/>
                    <a:pt x="102" y="0"/>
                  </a:cubicBezTo>
                  <a:cubicBezTo>
                    <a:pt x="103" y="0"/>
                    <a:pt x="104" y="1"/>
                    <a:pt x="104" y="2"/>
                  </a:cubicBezTo>
                  <a:cubicBezTo>
                    <a:pt x="104" y="75"/>
                    <a:pt x="104" y="75"/>
                    <a:pt x="104" y="75"/>
                  </a:cubicBezTo>
                  <a:cubicBezTo>
                    <a:pt x="104" y="76"/>
                    <a:pt x="103" y="77"/>
                    <a:pt x="102" y="77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79" y="77"/>
                    <a:pt x="79" y="78"/>
                    <a:pt x="79" y="79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79" y="99"/>
                    <a:pt x="77" y="100"/>
                    <a:pt x="76" y="99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7"/>
                    <a:pt x="53" y="77"/>
                    <a:pt x="53" y="7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1" y="77"/>
                    <a:pt x="0" y="76"/>
                    <a:pt x="0" y="7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grp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3" name="Line 800">
              <a:extLst>
                <a:ext uri="{FF2B5EF4-FFF2-40B4-BE49-F238E27FC236}">
                  <a16:creationId xmlns:a16="http://schemas.microsoft.com/office/drawing/2014/main" id="{C8AFFACE-7256-F2A8-E6FE-55B54DF645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776" y="6915150"/>
              <a:ext cx="304800" cy="0"/>
            </a:xfrm>
            <a:prstGeom prst="line">
              <a:avLst/>
            </a:prstGeom>
            <a:grp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4" name="Line 801">
              <a:extLst>
                <a:ext uri="{FF2B5EF4-FFF2-40B4-BE49-F238E27FC236}">
                  <a16:creationId xmlns:a16="http://schemas.microsoft.com/office/drawing/2014/main" id="{C462A20A-6621-D893-1094-A6FA03191E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776" y="7000875"/>
              <a:ext cx="304800" cy="0"/>
            </a:xfrm>
            <a:prstGeom prst="line">
              <a:avLst/>
            </a:prstGeom>
            <a:grp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5" name="Line 802">
              <a:extLst>
                <a:ext uri="{FF2B5EF4-FFF2-40B4-BE49-F238E27FC236}">
                  <a16:creationId xmlns:a16="http://schemas.microsoft.com/office/drawing/2014/main" id="{9FC02A92-D4FA-0537-F967-9CB4FD6A2E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776" y="7086600"/>
              <a:ext cx="177800" cy="0"/>
            </a:xfrm>
            <a:prstGeom prst="line">
              <a:avLst/>
            </a:prstGeom>
            <a:grp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6" name="Line 803">
              <a:extLst>
                <a:ext uri="{FF2B5EF4-FFF2-40B4-BE49-F238E27FC236}">
                  <a16:creationId xmlns:a16="http://schemas.microsoft.com/office/drawing/2014/main" id="{5A34B3B2-5A56-494E-477E-BA318E0997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93776" y="7153275"/>
              <a:ext cx="122238" cy="0"/>
            </a:xfrm>
            <a:prstGeom prst="line">
              <a:avLst/>
            </a:prstGeom>
            <a:grp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7" name="Line 804">
              <a:extLst>
                <a:ext uri="{FF2B5EF4-FFF2-40B4-BE49-F238E27FC236}">
                  <a16:creationId xmlns:a16="http://schemas.microsoft.com/office/drawing/2014/main" id="{1B8A9EF2-9DDF-4FEC-D568-8FFF97B9E2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93776" y="7223125"/>
              <a:ext cx="63500" cy="0"/>
            </a:xfrm>
            <a:prstGeom prst="line">
              <a:avLst/>
            </a:prstGeom>
            <a:grpFill/>
            <a:ln w="9525" cap="rnd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128" name="Group 25">
            <a:extLst>
              <a:ext uri="{FF2B5EF4-FFF2-40B4-BE49-F238E27FC236}">
                <a16:creationId xmlns:a16="http://schemas.microsoft.com/office/drawing/2014/main" id="{D607703E-F6E0-6324-1C1E-1A3B36777F35}"/>
              </a:ext>
            </a:extLst>
          </p:cNvPr>
          <p:cNvGrpSpPr>
            <a:grpSpLocks noChangeAspect="1"/>
          </p:cNvGrpSpPr>
          <p:nvPr/>
        </p:nvGrpSpPr>
        <p:grpSpPr>
          <a:xfrm>
            <a:off x="3677342" y="4209266"/>
            <a:ext cx="396072" cy="324000"/>
            <a:chOff x="76715" y="3603967"/>
            <a:chExt cx="484088" cy="432000"/>
          </a:xfrm>
          <a:solidFill>
            <a:schemeClr val="accent5"/>
          </a:solidFill>
        </p:grpSpPr>
        <p:grpSp>
          <p:nvGrpSpPr>
            <p:cNvPr id="129" name="Gruppieren 88">
              <a:extLst>
                <a:ext uri="{FF2B5EF4-FFF2-40B4-BE49-F238E27FC236}">
                  <a16:creationId xmlns:a16="http://schemas.microsoft.com/office/drawing/2014/main" id="{E5560B8C-7390-B6B2-E930-6A7816CB6CA3}"/>
                </a:ext>
              </a:extLst>
            </p:cNvPr>
            <p:cNvGrpSpPr/>
            <p:nvPr/>
          </p:nvGrpSpPr>
          <p:grpSpPr>
            <a:xfrm rot="10800000" flipH="1">
              <a:off x="305263" y="3758981"/>
              <a:ext cx="255540" cy="255539"/>
              <a:chOff x="6921500" y="5783263"/>
              <a:chExt cx="425450" cy="425450"/>
            </a:xfrm>
            <a:grpFill/>
          </p:grpSpPr>
          <p:sp>
            <p:nvSpPr>
              <p:cNvPr id="136" name="Freeform 648">
                <a:extLst>
                  <a:ext uri="{FF2B5EF4-FFF2-40B4-BE49-F238E27FC236}">
                    <a16:creationId xmlns:a16="http://schemas.microsoft.com/office/drawing/2014/main" id="{6827C91F-26AD-96F2-C661-4D425CC03B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1500" y="5783263"/>
                <a:ext cx="425450" cy="425450"/>
              </a:xfrm>
              <a:custGeom>
                <a:avLst/>
                <a:gdLst>
                  <a:gd name="T0" fmla="*/ 41 w 134"/>
                  <a:gd name="T1" fmla="*/ 109 h 134"/>
                  <a:gd name="T2" fmla="*/ 26 w 134"/>
                  <a:gd name="T3" fmla="*/ 120 h 134"/>
                  <a:gd name="T4" fmla="*/ 13 w 134"/>
                  <a:gd name="T5" fmla="*/ 108 h 134"/>
                  <a:gd name="T6" fmla="*/ 24 w 134"/>
                  <a:gd name="T7" fmla="*/ 93 h 134"/>
                  <a:gd name="T8" fmla="*/ 18 w 134"/>
                  <a:gd name="T9" fmla="*/ 79 h 134"/>
                  <a:gd name="T10" fmla="*/ 0 w 134"/>
                  <a:gd name="T11" fmla="*/ 76 h 134"/>
                  <a:gd name="T12" fmla="*/ 0 w 134"/>
                  <a:gd name="T13" fmla="*/ 58 h 134"/>
                  <a:gd name="T14" fmla="*/ 18 w 134"/>
                  <a:gd name="T15" fmla="*/ 55 h 134"/>
                  <a:gd name="T16" fmla="*/ 24 w 134"/>
                  <a:gd name="T17" fmla="*/ 41 h 134"/>
                  <a:gd name="T18" fmla="*/ 13 w 134"/>
                  <a:gd name="T19" fmla="*/ 26 h 134"/>
                  <a:gd name="T20" fmla="*/ 26 w 134"/>
                  <a:gd name="T21" fmla="*/ 14 h 134"/>
                  <a:gd name="T22" fmla="*/ 40 w 134"/>
                  <a:gd name="T23" fmla="*/ 24 h 134"/>
                  <a:gd name="T24" fmla="*/ 55 w 134"/>
                  <a:gd name="T25" fmla="*/ 18 h 134"/>
                  <a:gd name="T26" fmla="*/ 57 w 134"/>
                  <a:gd name="T27" fmla="*/ 0 h 134"/>
                  <a:gd name="T28" fmla="*/ 76 w 134"/>
                  <a:gd name="T29" fmla="*/ 0 h 134"/>
                  <a:gd name="T30" fmla="*/ 78 w 134"/>
                  <a:gd name="T31" fmla="*/ 18 h 134"/>
                  <a:gd name="T32" fmla="*/ 93 w 134"/>
                  <a:gd name="T33" fmla="*/ 24 h 134"/>
                  <a:gd name="T34" fmla="*/ 108 w 134"/>
                  <a:gd name="T35" fmla="*/ 13 h 134"/>
                  <a:gd name="T36" fmla="*/ 120 w 134"/>
                  <a:gd name="T37" fmla="*/ 26 h 134"/>
                  <a:gd name="T38" fmla="*/ 109 w 134"/>
                  <a:gd name="T39" fmla="*/ 41 h 134"/>
                  <a:gd name="T40" fmla="*/ 115 w 134"/>
                  <a:gd name="T41" fmla="*/ 55 h 134"/>
                  <a:gd name="T42" fmla="*/ 134 w 134"/>
                  <a:gd name="T43" fmla="*/ 58 h 134"/>
                  <a:gd name="T44" fmla="*/ 134 w 134"/>
                  <a:gd name="T45" fmla="*/ 76 h 134"/>
                  <a:gd name="T46" fmla="*/ 115 w 134"/>
                  <a:gd name="T47" fmla="*/ 78 h 134"/>
                  <a:gd name="T48" fmla="*/ 109 w 134"/>
                  <a:gd name="T49" fmla="*/ 93 h 134"/>
                  <a:gd name="T50" fmla="*/ 120 w 134"/>
                  <a:gd name="T51" fmla="*/ 108 h 134"/>
                  <a:gd name="T52" fmla="*/ 108 w 134"/>
                  <a:gd name="T53" fmla="*/ 120 h 134"/>
                  <a:gd name="T54" fmla="*/ 93 w 134"/>
                  <a:gd name="T55" fmla="*/ 109 h 134"/>
                  <a:gd name="T56" fmla="*/ 78 w 134"/>
                  <a:gd name="T57" fmla="*/ 115 h 134"/>
                  <a:gd name="T58" fmla="*/ 78 w 134"/>
                  <a:gd name="T59" fmla="*/ 115 h 134"/>
                  <a:gd name="T60" fmla="*/ 78 w 134"/>
                  <a:gd name="T61" fmla="*/ 115 h 134"/>
                  <a:gd name="T62" fmla="*/ 78 w 134"/>
                  <a:gd name="T63" fmla="*/ 115 h 134"/>
                  <a:gd name="T64" fmla="*/ 75 w 134"/>
                  <a:gd name="T65" fmla="*/ 134 h 134"/>
                  <a:gd name="T66" fmla="*/ 57 w 134"/>
                  <a:gd name="T67" fmla="*/ 134 h 134"/>
                  <a:gd name="T68" fmla="*/ 55 w 134"/>
                  <a:gd name="T69" fmla="*/ 115 h 134"/>
                  <a:gd name="T70" fmla="*/ 41 w 134"/>
                  <a:gd name="T71" fmla="*/ 109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4" h="134">
                    <a:moveTo>
                      <a:pt x="41" y="109"/>
                    </a:moveTo>
                    <a:cubicBezTo>
                      <a:pt x="26" y="120"/>
                      <a:pt x="26" y="120"/>
                      <a:pt x="26" y="120"/>
                    </a:cubicBezTo>
                    <a:cubicBezTo>
                      <a:pt x="13" y="108"/>
                      <a:pt x="13" y="108"/>
                      <a:pt x="13" y="108"/>
                    </a:cubicBezTo>
                    <a:cubicBezTo>
                      <a:pt x="24" y="93"/>
                      <a:pt x="24" y="93"/>
                      <a:pt x="24" y="93"/>
                    </a:cubicBezTo>
                    <a:cubicBezTo>
                      <a:pt x="21" y="89"/>
                      <a:pt x="19" y="84"/>
                      <a:pt x="18" y="79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19" y="50"/>
                      <a:pt x="21" y="45"/>
                      <a:pt x="24" y="41"/>
                    </a:cubicBezTo>
                    <a:cubicBezTo>
                      <a:pt x="13" y="26"/>
                      <a:pt x="13" y="26"/>
                      <a:pt x="13" y="26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40" y="24"/>
                      <a:pt x="40" y="24"/>
                      <a:pt x="40" y="24"/>
                    </a:cubicBezTo>
                    <a:cubicBezTo>
                      <a:pt x="45" y="22"/>
                      <a:pt x="50" y="20"/>
                      <a:pt x="55" y="18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76" y="0"/>
                      <a:pt x="76" y="0"/>
                      <a:pt x="76" y="0"/>
                    </a:cubicBezTo>
                    <a:cubicBezTo>
                      <a:pt x="78" y="18"/>
                      <a:pt x="78" y="18"/>
                      <a:pt x="78" y="18"/>
                    </a:cubicBezTo>
                    <a:cubicBezTo>
                      <a:pt x="83" y="20"/>
                      <a:pt x="88" y="22"/>
                      <a:pt x="93" y="24"/>
                    </a:cubicBezTo>
                    <a:cubicBezTo>
                      <a:pt x="108" y="13"/>
                      <a:pt x="108" y="13"/>
                      <a:pt x="108" y="13"/>
                    </a:cubicBezTo>
                    <a:cubicBezTo>
                      <a:pt x="120" y="26"/>
                      <a:pt x="120" y="26"/>
                      <a:pt x="120" y="26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12" y="45"/>
                      <a:pt x="114" y="50"/>
                      <a:pt x="115" y="55"/>
                    </a:cubicBezTo>
                    <a:cubicBezTo>
                      <a:pt x="134" y="58"/>
                      <a:pt x="134" y="58"/>
                      <a:pt x="134" y="58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15" y="78"/>
                      <a:pt x="115" y="78"/>
                      <a:pt x="115" y="78"/>
                    </a:cubicBezTo>
                    <a:cubicBezTo>
                      <a:pt x="114" y="84"/>
                      <a:pt x="112" y="88"/>
                      <a:pt x="109" y="93"/>
                    </a:cubicBezTo>
                    <a:cubicBezTo>
                      <a:pt x="120" y="108"/>
                      <a:pt x="120" y="108"/>
                      <a:pt x="120" y="108"/>
                    </a:cubicBezTo>
                    <a:cubicBezTo>
                      <a:pt x="108" y="120"/>
                      <a:pt x="108" y="120"/>
                      <a:pt x="108" y="120"/>
                    </a:cubicBezTo>
                    <a:cubicBezTo>
                      <a:pt x="93" y="109"/>
                      <a:pt x="93" y="109"/>
                      <a:pt x="93" y="109"/>
                    </a:cubicBezTo>
                    <a:cubicBezTo>
                      <a:pt x="88" y="112"/>
                      <a:pt x="83" y="114"/>
                      <a:pt x="78" y="115"/>
                    </a:cubicBezTo>
                    <a:cubicBezTo>
                      <a:pt x="78" y="115"/>
                      <a:pt x="78" y="115"/>
                      <a:pt x="78" y="115"/>
                    </a:cubicBezTo>
                    <a:cubicBezTo>
                      <a:pt x="78" y="115"/>
                      <a:pt x="78" y="115"/>
                      <a:pt x="78" y="115"/>
                    </a:cubicBezTo>
                    <a:cubicBezTo>
                      <a:pt x="78" y="115"/>
                      <a:pt x="78" y="115"/>
                      <a:pt x="78" y="115"/>
                    </a:cubicBezTo>
                    <a:cubicBezTo>
                      <a:pt x="75" y="134"/>
                      <a:pt x="75" y="134"/>
                      <a:pt x="75" y="134"/>
                    </a:cubicBezTo>
                    <a:cubicBezTo>
                      <a:pt x="57" y="134"/>
                      <a:pt x="57" y="134"/>
                      <a:pt x="57" y="134"/>
                    </a:cubicBezTo>
                    <a:cubicBezTo>
                      <a:pt x="55" y="115"/>
                      <a:pt x="55" y="115"/>
                      <a:pt x="55" y="115"/>
                    </a:cubicBezTo>
                    <a:cubicBezTo>
                      <a:pt x="50" y="114"/>
                      <a:pt x="45" y="112"/>
                      <a:pt x="41" y="109"/>
                    </a:cubicBezTo>
                  </a:path>
                </a:pathLst>
              </a:custGeom>
              <a:grpFill/>
              <a:ln w="952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/>
                <a:endParaRPr lang="en-GB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37" name="Freeform 649">
                <a:extLst>
                  <a:ext uri="{FF2B5EF4-FFF2-40B4-BE49-F238E27FC236}">
                    <a16:creationId xmlns:a16="http://schemas.microsoft.com/office/drawing/2014/main" id="{D0A621B5-6DA5-5DA1-D4EA-DB4A2407C6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5325" y="5910263"/>
                <a:ext cx="174625" cy="171450"/>
              </a:xfrm>
              <a:custGeom>
                <a:avLst/>
                <a:gdLst>
                  <a:gd name="T0" fmla="*/ 50 w 55"/>
                  <a:gd name="T1" fmla="*/ 37 h 54"/>
                  <a:gd name="T2" fmla="*/ 18 w 55"/>
                  <a:gd name="T3" fmla="*/ 49 h 54"/>
                  <a:gd name="T4" fmla="*/ 6 w 55"/>
                  <a:gd name="T5" fmla="*/ 17 h 54"/>
                  <a:gd name="T6" fmla="*/ 38 w 55"/>
                  <a:gd name="T7" fmla="*/ 5 h 54"/>
                  <a:gd name="T8" fmla="*/ 50 w 55"/>
                  <a:gd name="T9" fmla="*/ 37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54">
                    <a:moveTo>
                      <a:pt x="50" y="37"/>
                    </a:moveTo>
                    <a:cubicBezTo>
                      <a:pt x="44" y="49"/>
                      <a:pt x="30" y="54"/>
                      <a:pt x="18" y="49"/>
                    </a:cubicBezTo>
                    <a:cubicBezTo>
                      <a:pt x="6" y="43"/>
                      <a:pt x="0" y="29"/>
                      <a:pt x="6" y="17"/>
                    </a:cubicBezTo>
                    <a:cubicBezTo>
                      <a:pt x="11" y="5"/>
                      <a:pt x="25" y="0"/>
                      <a:pt x="38" y="5"/>
                    </a:cubicBezTo>
                    <a:cubicBezTo>
                      <a:pt x="50" y="10"/>
                      <a:pt x="55" y="25"/>
                      <a:pt x="50" y="37"/>
                    </a:cubicBezTo>
                    <a:close/>
                  </a:path>
                </a:pathLst>
              </a:custGeom>
              <a:grpFill/>
              <a:ln w="9525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457200"/>
                <a:endParaRPr lang="en-GB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sp>
          <p:nvSpPr>
            <p:cNvPr id="130" name="Oval 764">
              <a:extLst>
                <a:ext uri="{FF2B5EF4-FFF2-40B4-BE49-F238E27FC236}">
                  <a16:creationId xmlns:a16="http://schemas.microsoft.com/office/drawing/2014/main" id="{C19AD1A4-2525-9214-82E5-37B9CBA8A6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413" y="3603967"/>
              <a:ext cx="289080" cy="315850"/>
            </a:xfrm>
            <a:prstGeom prst="ellipse">
              <a:avLst/>
            </a:prstGeom>
            <a:grpFill/>
            <a:ln w="9525" cap="rnd">
              <a:solidFill>
                <a:schemeClr val="tx1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1" name="Freeform 766">
              <a:extLst>
                <a:ext uri="{FF2B5EF4-FFF2-40B4-BE49-F238E27FC236}">
                  <a16:creationId xmlns:a16="http://schemas.microsoft.com/office/drawing/2014/main" id="{B455BB04-D2E9-A4A0-4196-EA5518E2E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15" y="3866835"/>
              <a:ext cx="163019" cy="169132"/>
            </a:xfrm>
            <a:custGeom>
              <a:avLst/>
              <a:gdLst>
                <a:gd name="T0" fmla="*/ 80 w 80"/>
                <a:gd name="T1" fmla="*/ 18 h 83"/>
                <a:gd name="T2" fmla="*/ 23 w 80"/>
                <a:gd name="T3" fmla="*/ 78 h 83"/>
                <a:gd name="T4" fmla="*/ 7 w 80"/>
                <a:gd name="T5" fmla="*/ 79 h 83"/>
                <a:gd name="T6" fmla="*/ 5 w 80"/>
                <a:gd name="T7" fmla="*/ 76 h 83"/>
                <a:gd name="T8" fmla="*/ 5 w 80"/>
                <a:gd name="T9" fmla="*/ 60 h 83"/>
                <a:gd name="T10" fmla="*/ 62 w 80"/>
                <a:gd name="T11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83">
                  <a:moveTo>
                    <a:pt x="80" y="18"/>
                  </a:moveTo>
                  <a:cubicBezTo>
                    <a:pt x="23" y="78"/>
                    <a:pt x="23" y="78"/>
                    <a:pt x="23" y="78"/>
                  </a:cubicBezTo>
                  <a:cubicBezTo>
                    <a:pt x="19" y="83"/>
                    <a:pt x="12" y="83"/>
                    <a:pt x="7" y="79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0" y="72"/>
                    <a:pt x="0" y="65"/>
                    <a:pt x="5" y="6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grpFill/>
            <a:ln w="9525" cap="rnd">
              <a:solidFill>
                <a:schemeClr val="tx1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404955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132" name="Gruppieren 90">
              <a:extLst>
                <a:ext uri="{FF2B5EF4-FFF2-40B4-BE49-F238E27FC236}">
                  <a16:creationId xmlns:a16="http://schemas.microsoft.com/office/drawing/2014/main" id="{E31F58FC-C156-CE6A-1F08-3C2013E7369C}"/>
                </a:ext>
              </a:extLst>
            </p:cNvPr>
            <p:cNvGrpSpPr/>
            <p:nvPr/>
          </p:nvGrpSpPr>
          <p:grpSpPr>
            <a:xfrm flipH="1">
              <a:off x="221912" y="3667049"/>
              <a:ext cx="168980" cy="184124"/>
              <a:chOff x="847638" y="4074176"/>
              <a:chExt cx="464193" cy="505793"/>
            </a:xfrm>
            <a:grpFill/>
          </p:grpSpPr>
          <p:sp>
            <p:nvSpPr>
              <p:cNvPr id="133" name="Freihandform: Form 104">
                <a:extLst>
                  <a:ext uri="{FF2B5EF4-FFF2-40B4-BE49-F238E27FC236}">
                    <a16:creationId xmlns:a16="http://schemas.microsoft.com/office/drawing/2014/main" id="{185EC21A-9F46-1E85-B833-84A4ADD07961}"/>
                  </a:ext>
                </a:extLst>
              </p:cNvPr>
              <p:cNvSpPr/>
              <p:nvPr/>
            </p:nvSpPr>
            <p:spPr>
              <a:xfrm>
                <a:off x="1204212" y="4429307"/>
                <a:ext cx="107619" cy="150650"/>
              </a:xfrm>
              <a:custGeom>
                <a:avLst/>
                <a:gdLst>
                  <a:gd name="connsiteX0" fmla="*/ 0 w 180020"/>
                  <a:gd name="connsiteY0" fmla="*/ 0 h 252006"/>
                  <a:gd name="connsiteX1" fmla="*/ 180020 w 180020"/>
                  <a:gd name="connsiteY1" fmla="*/ 0 h 252006"/>
                  <a:gd name="connsiteX2" fmla="*/ 180020 w 180020"/>
                  <a:gd name="connsiteY2" fmla="*/ 252006 h 252006"/>
                  <a:gd name="connsiteX3" fmla="*/ 0 w 180020"/>
                  <a:gd name="connsiteY3" fmla="*/ 252006 h 252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020" h="252006">
                    <a:moveTo>
                      <a:pt x="0" y="0"/>
                    </a:moveTo>
                    <a:lnTo>
                      <a:pt x="180020" y="0"/>
                    </a:lnTo>
                    <a:lnTo>
                      <a:pt x="180020" y="252006"/>
                    </a:lnTo>
                    <a:lnTo>
                      <a:pt x="0" y="252006"/>
                    </a:lnTo>
                    <a:close/>
                  </a:path>
                </a:pathLst>
              </a:custGeom>
              <a:grp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4" name="Freihandform: Form 105">
                <a:extLst>
                  <a:ext uri="{FF2B5EF4-FFF2-40B4-BE49-F238E27FC236}">
                    <a16:creationId xmlns:a16="http://schemas.microsoft.com/office/drawing/2014/main" id="{6DC19336-7C65-5AEC-8D75-03935912A087}"/>
                  </a:ext>
                </a:extLst>
              </p:cNvPr>
              <p:cNvSpPr/>
              <p:nvPr/>
            </p:nvSpPr>
            <p:spPr>
              <a:xfrm>
                <a:off x="1025914" y="4310938"/>
                <a:ext cx="107619" cy="269031"/>
              </a:xfrm>
              <a:custGeom>
                <a:avLst/>
                <a:gdLst>
                  <a:gd name="connsiteX0" fmla="*/ 0 w 180019"/>
                  <a:gd name="connsiteY0" fmla="*/ 0 h 450028"/>
                  <a:gd name="connsiteX1" fmla="*/ 180020 w 180019"/>
                  <a:gd name="connsiteY1" fmla="*/ 0 h 450028"/>
                  <a:gd name="connsiteX2" fmla="*/ 180020 w 180019"/>
                  <a:gd name="connsiteY2" fmla="*/ 450028 h 450028"/>
                  <a:gd name="connsiteX3" fmla="*/ 0 w 180019"/>
                  <a:gd name="connsiteY3" fmla="*/ 450028 h 450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019" h="450028">
                    <a:moveTo>
                      <a:pt x="0" y="0"/>
                    </a:moveTo>
                    <a:lnTo>
                      <a:pt x="180020" y="0"/>
                    </a:lnTo>
                    <a:lnTo>
                      <a:pt x="180020" y="450028"/>
                    </a:lnTo>
                    <a:lnTo>
                      <a:pt x="0" y="450028"/>
                    </a:lnTo>
                    <a:close/>
                  </a:path>
                </a:pathLst>
              </a:custGeom>
              <a:grp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5" name="Freihandform: Form 106">
                <a:extLst>
                  <a:ext uri="{FF2B5EF4-FFF2-40B4-BE49-F238E27FC236}">
                    <a16:creationId xmlns:a16="http://schemas.microsoft.com/office/drawing/2014/main" id="{DEAC06F5-9C48-4168-D3CA-1EC22A846F9E}"/>
                  </a:ext>
                </a:extLst>
              </p:cNvPr>
              <p:cNvSpPr/>
              <p:nvPr/>
            </p:nvSpPr>
            <p:spPr>
              <a:xfrm>
                <a:off x="847638" y="4074176"/>
                <a:ext cx="107616" cy="505786"/>
              </a:xfrm>
              <a:custGeom>
                <a:avLst/>
                <a:gdLst>
                  <a:gd name="connsiteX0" fmla="*/ 0 w 180020"/>
                  <a:gd name="connsiteY0" fmla="*/ 0 h 846072"/>
                  <a:gd name="connsiteX1" fmla="*/ 180020 w 180020"/>
                  <a:gd name="connsiteY1" fmla="*/ 0 h 846072"/>
                  <a:gd name="connsiteX2" fmla="*/ 180020 w 180020"/>
                  <a:gd name="connsiteY2" fmla="*/ 846072 h 846072"/>
                  <a:gd name="connsiteX3" fmla="*/ 0 w 180020"/>
                  <a:gd name="connsiteY3" fmla="*/ 846072 h 846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020" h="846072">
                    <a:moveTo>
                      <a:pt x="0" y="0"/>
                    </a:moveTo>
                    <a:lnTo>
                      <a:pt x="180020" y="0"/>
                    </a:lnTo>
                    <a:lnTo>
                      <a:pt x="180020" y="846072"/>
                    </a:lnTo>
                    <a:lnTo>
                      <a:pt x="0" y="846072"/>
                    </a:lnTo>
                    <a:close/>
                  </a:path>
                </a:pathLst>
              </a:custGeom>
              <a:grpFill/>
              <a:ln w="9525" cap="rnd">
                <a:solidFill>
                  <a:schemeClr val="tx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404955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AE2DA3AC-6708-4DE5-A97D-BC6387EFAA6E}"/>
              </a:ext>
            </a:extLst>
          </p:cNvPr>
          <p:cNvSpPr txBox="1">
            <a:spLocks/>
          </p:cNvSpPr>
          <p:nvPr/>
        </p:nvSpPr>
        <p:spPr>
          <a:xfrm>
            <a:off x="704100" y="880620"/>
            <a:ext cx="8277340" cy="5540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2. Assessment</a:t>
            </a:r>
            <a:br>
              <a:rPr lang="en-GB" dirty="0"/>
            </a:br>
            <a:r>
              <a:rPr lang="en-GB" b="0" dirty="0"/>
              <a:t>2.2 infrastructure: setting of the examination framework</a:t>
            </a:r>
          </a:p>
        </p:txBody>
      </p:sp>
    </p:spTree>
    <p:extLst>
      <p:ext uri="{BB962C8B-B14F-4D97-AF65-F5344CB8AC3E}">
        <p14:creationId xmlns:p14="http://schemas.microsoft.com/office/powerpoint/2010/main" val="35646439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chteck 98">
            <a:extLst>
              <a:ext uri="{FF2B5EF4-FFF2-40B4-BE49-F238E27FC236}">
                <a16:creationId xmlns:a16="http://schemas.microsoft.com/office/drawing/2014/main" id="{B28FA469-8EA1-56B1-59CD-D097B021CF8C}"/>
              </a:ext>
            </a:extLst>
          </p:cNvPr>
          <p:cNvSpPr/>
          <p:nvPr/>
        </p:nvSpPr>
        <p:spPr>
          <a:xfrm>
            <a:off x="3862379" y="1962150"/>
            <a:ext cx="789324" cy="9787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000" b="1" dirty="0">
                <a:solidFill>
                  <a:schemeClr val="accent2"/>
                </a:solidFill>
              </a:rPr>
              <a:t>2021</a:t>
            </a:r>
          </a:p>
        </p:txBody>
      </p:sp>
      <p:sp>
        <p:nvSpPr>
          <p:cNvPr id="122" name="Rechteck 98">
            <a:extLst>
              <a:ext uri="{FF2B5EF4-FFF2-40B4-BE49-F238E27FC236}">
                <a16:creationId xmlns:a16="http://schemas.microsoft.com/office/drawing/2014/main" id="{3E82C4D0-3132-F92B-A451-E5E70AD515F7}"/>
              </a:ext>
            </a:extLst>
          </p:cNvPr>
          <p:cNvSpPr/>
          <p:nvPr/>
        </p:nvSpPr>
        <p:spPr>
          <a:xfrm>
            <a:off x="1788063" y="3604248"/>
            <a:ext cx="789324" cy="9787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000" b="1" dirty="0">
                <a:solidFill>
                  <a:schemeClr val="accent2"/>
                </a:solidFill>
              </a:rPr>
              <a:t>2021</a:t>
            </a:r>
          </a:p>
        </p:txBody>
      </p:sp>
      <p:sp>
        <p:nvSpPr>
          <p:cNvPr id="123" name="Rechteck 98">
            <a:extLst>
              <a:ext uri="{FF2B5EF4-FFF2-40B4-BE49-F238E27FC236}">
                <a16:creationId xmlns:a16="http://schemas.microsoft.com/office/drawing/2014/main" id="{34BB5529-3BEC-89D5-0D82-2942EB521BAB}"/>
              </a:ext>
            </a:extLst>
          </p:cNvPr>
          <p:cNvSpPr/>
          <p:nvPr/>
        </p:nvSpPr>
        <p:spPr>
          <a:xfrm>
            <a:off x="5893345" y="3611720"/>
            <a:ext cx="789324" cy="9787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000" b="1" dirty="0">
                <a:solidFill>
                  <a:schemeClr val="accent2"/>
                </a:solidFill>
              </a:rPr>
              <a:t>2021</a:t>
            </a:r>
          </a:p>
        </p:txBody>
      </p:sp>
      <p:sp>
        <p:nvSpPr>
          <p:cNvPr id="125" name="Rechteck 98">
            <a:extLst>
              <a:ext uri="{FF2B5EF4-FFF2-40B4-BE49-F238E27FC236}">
                <a16:creationId xmlns:a16="http://schemas.microsoft.com/office/drawing/2014/main" id="{55A50AFF-6C4A-1A8E-8E87-B747019DC3EA}"/>
              </a:ext>
            </a:extLst>
          </p:cNvPr>
          <p:cNvSpPr/>
          <p:nvPr/>
        </p:nvSpPr>
        <p:spPr>
          <a:xfrm>
            <a:off x="3862379" y="3609113"/>
            <a:ext cx="789324" cy="9787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000" b="1" dirty="0">
                <a:solidFill>
                  <a:schemeClr val="accent2"/>
                </a:solidFill>
              </a:rPr>
              <a:t>2021</a:t>
            </a:r>
          </a:p>
        </p:txBody>
      </p:sp>
      <p:sp>
        <p:nvSpPr>
          <p:cNvPr id="126" name="Rechteck 98">
            <a:extLst>
              <a:ext uri="{FF2B5EF4-FFF2-40B4-BE49-F238E27FC236}">
                <a16:creationId xmlns:a16="http://schemas.microsoft.com/office/drawing/2014/main" id="{FA7DD5CF-012D-B9A3-CA2E-7B56DA5B377D}"/>
              </a:ext>
            </a:extLst>
          </p:cNvPr>
          <p:cNvSpPr/>
          <p:nvPr/>
        </p:nvSpPr>
        <p:spPr>
          <a:xfrm>
            <a:off x="5897250" y="1962150"/>
            <a:ext cx="789324" cy="9787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000" b="1" dirty="0">
                <a:solidFill>
                  <a:schemeClr val="accent2"/>
                </a:solidFill>
              </a:rPr>
              <a:t>2021</a:t>
            </a:r>
          </a:p>
        </p:txBody>
      </p:sp>
      <p:sp>
        <p:nvSpPr>
          <p:cNvPr id="4" name="Rechteck 98">
            <a:extLst>
              <a:ext uri="{FF2B5EF4-FFF2-40B4-BE49-F238E27FC236}">
                <a16:creationId xmlns:a16="http://schemas.microsoft.com/office/drawing/2014/main" id="{7FC1D5A1-A311-4F6F-82B9-37D7938CFDA8}"/>
              </a:ext>
            </a:extLst>
          </p:cNvPr>
          <p:cNvSpPr/>
          <p:nvPr/>
        </p:nvSpPr>
        <p:spPr>
          <a:xfrm>
            <a:off x="1787681" y="1962150"/>
            <a:ext cx="789324" cy="97876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000" b="1" dirty="0">
                <a:solidFill>
                  <a:schemeClr val="accent2"/>
                </a:solidFill>
              </a:rPr>
              <a:t>2021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AAD3CF64-C7CD-6B98-C1AD-D85304745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388" y="804863"/>
            <a:ext cx="8113712" cy="554037"/>
          </a:xfrm>
        </p:spPr>
        <p:txBody>
          <a:bodyPr/>
          <a:lstStyle/>
          <a:p>
            <a:r>
              <a:rPr lang="en-GB" dirty="0"/>
              <a:t>General advantages of digital examination (1/2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59AD947-B3D0-FD43-8842-D0CDC508D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</p:spPr>
        <p:txBody>
          <a:bodyPr/>
          <a:lstStyle/>
          <a:p>
            <a:r>
              <a:rPr lang="en-GB" dirty="0"/>
              <a:t>EQE 2024 – Survey summary</a:t>
            </a:r>
          </a:p>
        </p:txBody>
      </p:sp>
      <p:sp>
        <p:nvSpPr>
          <p:cNvPr id="3" name="Rechteck 97">
            <a:extLst>
              <a:ext uri="{FF2B5EF4-FFF2-40B4-BE49-F238E27FC236}">
                <a16:creationId xmlns:a16="http://schemas.microsoft.com/office/drawing/2014/main" id="{E6CCCBF7-DEE0-B701-42AD-3463C3AF83C8}"/>
              </a:ext>
            </a:extLst>
          </p:cNvPr>
          <p:cNvSpPr/>
          <p:nvPr/>
        </p:nvSpPr>
        <p:spPr>
          <a:xfrm>
            <a:off x="687387" y="1474788"/>
            <a:ext cx="1889618" cy="146612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100" dirty="0">
                <a:solidFill>
                  <a:schemeClr val="tx1"/>
                </a:solidFill>
              </a:rPr>
              <a:t>Comfort of sitting the exam in your preferred location</a:t>
            </a:r>
            <a:endParaRPr lang="en-GB" sz="1100" strike="sngStrike" dirty="0">
              <a:solidFill>
                <a:schemeClr val="tx1"/>
              </a:solidFill>
            </a:endParaRPr>
          </a:p>
        </p:txBody>
      </p:sp>
      <p:graphicFrame>
        <p:nvGraphicFramePr>
          <p:cNvPr id="6" name="Diagramm 99">
            <a:extLst>
              <a:ext uri="{FF2B5EF4-FFF2-40B4-BE49-F238E27FC236}">
                <a16:creationId xmlns:a16="http://schemas.microsoft.com/office/drawing/2014/main" id="{937E1D37-55BD-641C-470E-3DB6CBC52DA5}"/>
              </a:ext>
            </a:extLst>
          </p:cNvPr>
          <p:cNvGraphicFramePr/>
          <p:nvPr/>
        </p:nvGraphicFramePr>
        <p:xfrm>
          <a:off x="918050" y="2348907"/>
          <a:ext cx="447930" cy="447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70">
            <a:extLst>
              <a:ext uri="{FF2B5EF4-FFF2-40B4-BE49-F238E27FC236}">
                <a16:creationId xmlns:a16="http://schemas.microsoft.com/office/drawing/2014/main" id="{AD615E71-3E84-ADE1-4390-B7E4B0182814}"/>
              </a:ext>
            </a:extLst>
          </p:cNvPr>
          <p:cNvSpPr txBox="1"/>
          <p:nvPr/>
        </p:nvSpPr>
        <p:spPr>
          <a:xfrm>
            <a:off x="1287577" y="2734359"/>
            <a:ext cx="354832" cy="205629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100" dirty="0">
                <a:solidFill>
                  <a:schemeClr val="accent6"/>
                </a:solidFill>
              </a:rPr>
              <a:t>15%</a:t>
            </a:r>
          </a:p>
        </p:txBody>
      </p:sp>
      <p:sp>
        <p:nvSpPr>
          <p:cNvPr id="8" name="Textfeld 70">
            <a:extLst>
              <a:ext uri="{FF2B5EF4-FFF2-40B4-BE49-F238E27FC236}">
                <a16:creationId xmlns:a16="http://schemas.microsoft.com/office/drawing/2014/main" id="{CEEE638D-8F3D-877A-49DE-F5760D58A38C}"/>
              </a:ext>
            </a:extLst>
          </p:cNvPr>
          <p:cNvSpPr txBox="1"/>
          <p:nvPr/>
        </p:nvSpPr>
        <p:spPr>
          <a:xfrm>
            <a:off x="745211" y="2164976"/>
            <a:ext cx="354832" cy="169277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100" b="1" dirty="0">
                <a:solidFill>
                  <a:srgbClr val="337878"/>
                </a:solidFill>
              </a:rPr>
              <a:t>85%</a:t>
            </a:r>
          </a:p>
        </p:txBody>
      </p:sp>
      <p:sp>
        <p:nvSpPr>
          <p:cNvPr id="10" name="Textfeld 102">
            <a:extLst>
              <a:ext uri="{FF2B5EF4-FFF2-40B4-BE49-F238E27FC236}">
                <a16:creationId xmlns:a16="http://schemas.microsoft.com/office/drawing/2014/main" id="{7AFE0A88-0D35-00CF-C312-2D3B9948129B}"/>
              </a:ext>
            </a:extLst>
          </p:cNvPr>
          <p:cNvSpPr txBox="1"/>
          <p:nvPr/>
        </p:nvSpPr>
        <p:spPr>
          <a:xfrm>
            <a:off x="687387" y="1962150"/>
            <a:ext cx="350540" cy="205629"/>
          </a:xfrm>
          <a:prstGeom prst="rect">
            <a:avLst/>
          </a:prstGeom>
          <a:noFill/>
        </p:spPr>
        <p:txBody>
          <a:bodyPr wrap="none" lIns="36000" tIns="36000" rIns="0" bIns="0">
            <a:spAutoFit/>
          </a:bodyPr>
          <a:lstStyle/>
          <a:p>
            <a:r>
              <a:rPr lang="en-GB" sz="1100" b="1" dirty="0"/>
              <a:t>2024</a:t>
            </a:r>
            <a:endParaRPr lang="en-GB" sz="1050" dirty="0"/>
          </a:p>
        </p:txBody>
      </p:sp>
      <p:graphicFrame>
        <p:nvGraphicFramePr>
          <p:cNvPr id="11" name="Diagramm 103">
            <a:extLst>
              <a:ext uri="{FF2B5EF4-FFF2-40B4-BE49-F238E27FC236}">
                <a16:creationId xmlns:a16="http://schemas.microsoft.com/office/drawing/2014/main" id="{269CA3B1-978E-2103-BF89-715F81EE91C5}"/>
              </a:ext>
            </a:extLst>
          </p:cNvPr>
          <p:cNvGraphicFramePr/>
          <p:nvPr/>
        </p:nvGraphicFramePr>
        <p:xfrm>
          <a:off x="1997899" y="2364453"/>
          <a:ext cx="368888" cy="36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feld 70">
            <a:extLst>
              <a:ext uri="{FF2B5EF4-FFF2-40B4-BE49-F238E27FC236}">
                <a16:creationId xmlns:a16="http://schemas.microsoft.com/office/drawing/2014/main" id="{646625D3-5312-2970-7122-A48CB99878D7}"/>
              </a:ext>
            </a:extLst>
          </p:cNvPr>
          <p:cNvSpPr txBox="1"/>
          <p:nvPr/>
        </p:nvSpPr>
        <p:spPr>
          <a:xfrm>
            <a:off x="2255841" y="2749748"/>
            <a:ext cx="327580" cy="190240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24%</a:t>
            </a:r>
          </a:p>
        </p:txBody>
      </p:sp>
      <p:sp>
        <p:nvSpPr>
          <p:cNvPr id="13" name="Textfeld 70">
            <a:extLst>
              <a:ext uri="{FF2B5EF4-FFF2-40B4-BE49-F238E27FC236}">
                <a16:creationId xmlns:a16="http://schemas.microsoft.com/office/drawing/2014/main" id="{884B9359-EDCB-41CD-D793-A8BC4AB29699}"/>
              </a:ext>
            </a:extLst>
          </p:cNvPr>
          <p:cNvSpPr txBox="1"/>
          <p:nvPr/>
        </p:nvSpPr>
        <p:spPr>
          <a:xfrm>
            <a:off x="1794096" y="2202768"/>
            <a:ext cx="327581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000" b="1" dirty="0">
                <a:solidFill>
                  <a:srgbClr val="D4DB12"/>
                </a:solidFill>
              </a:rPr>
              <a:t>76%</a:t>
            </a:r>
          </a:p>
        </p:txBody>
      </p:sp>
      <p:sp>
        <p:nvSpPr>
          <p:cNvPr id="14" name="Rechteck 106">
            <a:extLst>
              <a:ext uri="{FF2B5EF4-FFF2-40B4-BE49-F238E27FC236}">
                <a16:creationId xmlns:a16="http://schemas.microsoft.com/office/drawing/2014/main" id="{3EED6304-2BB6-5B20-EC5C-09CC7F2A06E5}"/>
              </a:ext>
            </a:extLst>
          </p:cNvPr>
          <p:cNvSpPr/>
          <p:nvPr/>
        </p:nvSpPr>
        <p:spPr>
          <a:xfrm>
            <a:off x="2761703" y="1474788"/>
            <a:ext cx="1890000" cy="1465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200" spc="-20" dirty="0">
                <a:solidFill>
                  <a:schemeClr val="tx1"/>
                </a:solidFill>
              </a:rPr>
              <a:t>Being able to use a compu-ter </a:t>
            </a:r>
            <a:r>
              <a:rPr lang="en-GB" sz="1200" dirty="0">
                <a:solidFill>
                  <a:schemeClr val="tx1"/>
                </a:solidFill>
              </a:rPr>
              <a:t>to type answers</a:t>
            </a:r>
          </a:p>
        </p:txBody>
      </p:sp>
      <p:graphicFrame>
        <p:nvGraphicFramePr>
          <p:cNvPr id="16" name="Diagramm 108">
            <a:extLst>
              <a:ext uri="{FF2B5EF4-FFF2-40B4-BE49-F238E27FC236}">
                <a16:creationId xmlns:a16="http://schemas.microsoft.com/office/drawing/2014/main" id="{29912A1D-AC85-9987-3F9B-AAA6140A3B65}"/>
              </a:ext>
            </a:extLst>
          </p:cNvPr>
          <p:cNvGraphicFramePr/>
          <p:nvPr/>
        </p:nvGraphicFramePr>
        <p:xfrm>
          <a:off x="2992621" y="2348907"/>
          <a:ext cx="447930" cy="447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Textfeld 70">
            <a:extLst>
              <a:ext uri="{FF2B5EF4-FFF2-40B4-BE49-F238E27FC236}">
                <a16:creationId xmlns:a16="http://schemas.microsoft.com/office/drawing/2014/main" id="{995B5F0A-3705-652A-7FF3-B0E650CAA814}"/>
              </a:ext>
            </a:extLst>
          </p:cNvPr>
          <p:cNvSpPr txBox="1"/>
          <p:nvPr/>
        </p:nvSpPr>
        <p:spPr>
          <a:xfrm>
            <a:off x="3361172" y="2734359"/>
            <a:ext cx="354832" cy="205629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100" dirty="0">
                <a:solidFill>
                  <a:schemeClr val="accent6"/>
                </a:solidFill>
              </a:rPr>
              <a:t>13%</a:t>
            </a:r>
          </a:p>
        </p:txBody>
      </p:sp>
      <p:sp>
        <p:nvSpPr>
          <p:cNvPr id="18" name="Textfeld 70">
            <a:extLst>
              <a:ext uri="{FF2B5EF4-FFF2-40B4-BE49-F238E27FC236}">
                <a16:creationId xmlns:a16="http://schemas.microsoft.com/office/drawing/2014/main" id="{A35FE5EC-904E-849A-A71B-7DAE994A2223}"/>
              </a:ext>
            </a:extLst>
          </p:cNvPr>
          <p:cNvSpPr txBox="1"/>
          <p:nvPr/>
        </p:nvSpPr>
        <p:spPr>
          <a:xfrm>
            <a:off x="2819527" y="2164976"/>
            <a:ext cx="354832" cy="169277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100" b="1" dirty="0">
                <a:solidFill>
                  <a:srgbClr val="337878"/>
                </a:solidFill>
              </a:rPr>
              <a:t>87%</a:t>
            </a:r>
          </a:p>
        </p:txBody>
      </p:sp>
      <p:sp>
        <p:nvSpPr>
          <p:cNvPr id="19" name="Textfeld 111">
            <a:extLst>
              <a:ext uri="{FF2B5EF4-FFF2-40B4-BE49-F238E27FC236}">
                <a16:creationId xmlns:a16="http://schemas.microsoft.com/office/drawing/2014/main" id="{5805D6BC-AE41-45E3-D7FE-B6092CEB317A}"/>
              </a:ext>
            </a:extLst>
          </p:cNvPr>
          <p:cNvSpPr txBox="1"/>
          <p:nvPr/>
        </p:nvSpPr>
        <p:spPr>
          <a:xfrm>
            <a:off x="2761703" y="1962150"/>
            <a:ext cx="350540" cy="205629"/>
          </a:xfrm>
          <a:prstGeom prst="rect">
            <a:avLst/>
          </a:prstGeom>
          <a:noFill/>
        </p:spPr>
        <p:txBody>
          <a:bodyPr wrap="none" lIns="36000" tIns="36000" rIns="0" bIns="0">
            <a:spAutoFit/>
          </a:bodyPr>
          <a:lstStyle/>
          <a:p>
            <a:r>
              <a:rPr lang="en-GB" sz="1100" b="1" dirty="0"/>
              <a:t>2024</a:t>
            </a:r>
            <a:endParaRPr lang="en-GB" sz="1050" dirty="0"/>
          </a:p>
        </p:txBody>
      </p:sp>
      <p:sp>
        <p:nvSpPr>
          <p:cNvPr id="23" name="Rechteck 115">
            <a:extLst>
              <a:ext uri="{FF2B5EF4-FFF2-40B4-BE49-F238E27FC236}">
                <a16:creationId xmlns:a16="http://schemas.microsoft.com/office/drawing/2014/main" id="{D80476CB-1BA7-B0A4-2A34-20DBBD90EB50}"/>
              </a:ext>
            </a:extLst>
          </p:cNvPr>
          <p:cNvSpPr/>
          <p:nvPr/>
        </p:nvSpPr>
        <p:spPr>
          <a:xfrm>
            <a:off x="687387" y="3116886"/>
            <a:ext cx="1890000" cy="1465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200" dirty="0">
                <a:solidFill>
                  <a:schemeClr val="tx1"/>
                </a:solidFill>
              </a:rPr>
              <a:t>Save travel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time</a:t>
            </a:r>
          </a:p>
        </p:txBody>
      </p:sp>
      <p:graphicFrame>
        <p:nvGraphicFramePr>
          <p:cNvPr id="25" name="Diagramm 117">
            <a:extLst>
              <a:ext uri="{FF2B5EF4-FFF2-40B4-BE49-F238E27FC236}">
                <a16:creationId xmlns:a16="http://schemas.microsoft.com/office/drawing/2014/main" id="{30BCBF10-0018-2DE7-2D9C-A3DB2DE10A30}"/>
              </a:ext>
            </a:extLst>
          </p:cNvPr>
          <p:cNvGraphicFramePr/>
          <p:nvPr/>
        </p:nvGraphicFramePr>
        <p:xfrm>
          <a:off x="918178" y="3991005"/>
          <a:ext cx="447930" cy="447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Textfeld 70">
            <a:extLst>
              <a:ext uri="{FF2B5EF4-FFF2-40B4-BE49-F238E27FC236}">
                <a16:creationId xmlns:a16="http://schemas.microsoft.com/office/drawing/2014/main" id="{37BF4B32-A481-8BC4-D120-936ED5A41286}"/>
              </a:ext>
            </a:extLst>
          </p:cNvPr>
          <p:cNvSpPr txBox="1"/>
          <p:nvPr/>
        </p:nvSpPr>
        <p:spPr>
          <a:xfrm>
            <a:off x="1302688" y="4376457"/>
            <a:ext cx="354832" cy="205629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100" dirty="0">
                <a:solidFill>
                  <a:schemeClr val="accent6"/>
                </a:solidFill>
              </a:rPr>
              <a:t>16%</a:t>
            </a:r>
          </a:p>
        </p:txBody>
      </p:sp>
      <p:sp>
        <p:nvSpPr>
          <p:cNvPr id="27" name="Textfeld 70">
            <a:extLst>
              <a:ext uri="{FF2B5EF4-FFF2-40B4-BE49-F238E27FC236}">
                <a16:creationId xmlns:a16="http://schemas.microsoft.com/office/drawing/2014/main" id="{B7F7C8E1-5A8C-6F82-F4AB-4C5EA48B0CDC}"/>
              </a:ext>
            </a:extLst>
          </p:cNvPr>
          <p:cNvSpPr txBox="1"/>
          <p:nvPr/>
        </p:nvSpPr>
        <p:spPr>
          <a:xfrm>
            <a:off x="745211" y="3807074"/>
            <a:ext cx="354832" cy="169277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100" b="1" dirty="0">
                <a:solidFill>
                  <a:srgbClr val="337878"/>
                </a:solidFill>
              </a:rPr>
              <a:t>84%</a:t>
            </a:r>
          </a:p>
        </p:txBody>
      </p:sp>
      <p:sp>
        <p:nvSpPr>
          <p:cNvPr id="28" name="Textfeld 120">
            <a:extLst>
              <a:ext uri="{FF2B5EF4-FFF2-40B4-BE49-F238E27FC236}">
                <a16:creationId xmlns:a16="http://schemas.microsoft.com/office/drawing/2014/main" id="{6A9B9844-5FA9-94F2-8153-DB957B426C4D}"/>
              </a:ext>
            </a:extLst>
          </p:cNvPr>
          <p:cNvSpPr txBox="1"/>
          <p:nvPr/>
        </p:nvSpPr>
        <p:spPr>
          <a:xfrm>
            <a:off x="687387" y="3604248"/>
            <a:ext cx="350540" cy="205629"/>
          </a:xfrm>
          <a:prstGeom prst="rect">
            <a:avLst/>
          </a:prstGeom>
          <a:noFill/>
        </p:spPr>
        <p:txBody>
          <a:bodyPr wrap="none" lIns="36000" tIns="36000" rIns="0" bIns="0">
            <a:spAutoFit/>
          </a:bodyPr>
          <a:lstStyle/>
          <a:p>
            <a:r>
              <a:rPr lang="en-GB" sz="1100" b="1" dirty="0"/>
              <a:t>2024</a:t>
            </a:r>
            <a:endParaRPr lang="en-GB" sz="1050" dirty="0"/>
          </a:p>
        </p:txBody>
      </p:sp>
      <p:graphicFrame>
        <p:nvGraphicFramePr>
          <p:cNvPr id="29" name="Diagramm 121">
            <a:extLst>
              <a:ext uri="{FF2B5EF4-FFF2-40B4-BE49-F238E27FC236}">
                <a16:creationId xmlns:a16="http://schemas.microsoft.com/office/drawing/2014/main" id="{2C2662F9-8C0B-F173-FCE6-D4DE80F6EE34}"/>
              </a:ext>
            </a:extLst>
          </p:cNvPr>
          <p:cNvGraphicFramePr/>
          <p:nvPr/>
        </p:nvGraphicFramePr>
        <p:xfrm>
          <a:off x="1998281" y="4006551"/>
          <a:ext cx="368888" cy="36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feld 70">
            <a:extLst>
              <a:ext uri="{FF2B5EF4-FFF2-40B4-BE49-F238E27FC236}">
                <a16:creationId xmlns:a16="http://schemas.microsoft.com/office/drawing/2014/main" id="{21B281C6-EE3D-71F3-716B-7D906E1C9B76}"/>
              </a:ext>
            </a:extLst>
          </p:cNvPr>
          <p:cNvSpPr txBox="1"/>
          <p:nvPr/>
        </p:nvSpPr>
        <p:spPr>
          <a:xfrm>
            <a:off x="2249807" y="4391846"/>
            <a:ext cx="327580" cy="190240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28%</a:t>
            </a:r>
          </a:p>
        </p:txBody>
      </p:sp>
      <p:sp>
        <p:nvSpPr>
          <p:cNvPr id="31" name="Textfeld 70">
            <a:extLst>
              <a:ext uri="{FF2B5EF4-FFF2-40B4-BE49-F238E27FC236}">
                <a16:creationId xmlns:a16="http://schemas.microsoft.com/office/drawing/2014/main" id="{0223C727-1208-0525-AE4F-C315D9785E4D}"/>
              </a:ext>
            </a:extLst>
          </p:cNvPr>
          <p:cNvSpPr txBox="1"/>
          <p:nvPr/>
        </p:nvSpPr>
        <p:spPr>
          <a:xfrm>
            <a:off x="1788063" y="3844866"/>
            <a:ext cx="327581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000" b="1" dirty="0">
                <a:solidFill>
                  <a:srgbClr val="D4DB12"/>
                </a:solidFill>
              </a:rPr>
              <a:t>72%</a:t>
            </a:r>
          </a:p>
        </p:txBody>
      </p:sp>
      <p:sp>
        <p:nvSpPr>
          <p:cNvPr id="32" name="Rechteck 124">
            <a:extLst>
              <a:ext uri="{FF2B5EF4-FFF2-40B4-BE49-F238E27FC236}">
                <a16:creationId xmlns:a16="http://schemas.microsoft.com/office/drawing/2014/main" id="{D1050C4B-C5C5-D2C8-F057-4CAD1FDDFC30}"/>
              </a:ext>
            </a:extLst>
          </p:cNvPr>
          <p:cNvSpPr/>
          <p:nvPr/>
        </p:nvSpPr>
        <p:spPr>
          <a:xfrm>
            <a:off x="4792669" y="3124358"/>
            <a:ext cx="1890000" cy="1465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200" dirty="0">
                <a:solidFill>
                  <a:schemeClr val="tx1"/>
                </a:solidFill>
              </a:rPr>
              <a:t>Save travel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costs</a:t>
            </a:r>
          </a:p>
        </p:txBody>
      </p:sp>
      <p:graphicFrame>
        <p:nvGraphicFramePr>
          <p:cNvPr id="34" name="Diagramm 126">
            <a:extLst>
              <a:ext uri="{FF2B5EF4-FFF2-40B4-BE49-F238E27FC236}">
                <a16:creationId xmlns:a16="http://schemas.microsoft.com/office/drawing/2014/main" id="{7FDFAC3E-13E2-93A7-50DF-D873AF926AAB}"/>
              </a:ext>
            </a:extLst>
          </p:cNvPr>
          <p:cNvGraphicFramePr/>
          <p:nvPr/>
        </p:nvGraphicFramePr>
        <p:xfrm>
          <a:off x="5023332" y="3998477"/>
          <a:ext cx="447930" cy="447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5" name="Textfeld 70">
            <a:extLst>
              <a:ext uri="{FF2B5EF4-FFF2-40B4-BE49-F238E27FC236}">
                <a16:creationId xmlns:a16="http://schemas.microsoft.com/office/drawing/2014/main" id="{35A3CD3B-F05B-D44A-0AAF-6579D633A30C}"/>
              </a:ext>
            </a:extLst>
          </p:cNvPr>
          <p:cNvSpPr txBox="1"/>
          <p:nvPr/>
        </p:nvSpPr>
        <p:spPr>
          <a:xfrm>
            <a:off x="5381461" y="4383929"/>
            <a:ext cx="354832" cy="205629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100" dirty="0">
                <a:solidFill>
                  <a:schemeClr val="accent6"/>
                </a:solidFill>
              </a:rPr>
              <a:t>20%</a:t>
            </a:r>
          </a:p>
        </p:txBody>
      </p:sp>
      <p:sp>
        <p:nvSpPr>
          <p:cNvPr id="36" name="Textfeld 70">
            <a:extLst>
              <a:ext uri="{FF2B5EF4-FFF2-40B4-BE49-F238E27FC236}">
                <a16:creationId xmlns:a16="http://schemas.microsoft.com/office/drawing/2014/main" id="{ABE7C43D-A965-913F-F848-F2126D6B8B63}"/>
              </a:ext>
            </a:extLst>
          </p:cNvPr>
          <p:cNvSpPr txBox="1"/>
          <p:nvPr/>
        </p:nvSpPr>
        <p:spPr>
          <a:xfrm>
            <a:off x="4850493" y="3814546"/>
            <a:ext cx="354832" cy="169277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100" b="1" dirty="0">
                <a:solidFill>
                  <a:srgbClr val="337878"/>
                </a:solidFill>
              </a:rPr>
              <a:t>80%</a:t>
            </a:r>
          </a:p>
        </p:txBody>
      </p:sp>
      <p:sp>
        <p:nvSpPr>
          <p:cNvPr id="37" name="Textfeld 129">
            <a:extLst>
              <a:ext uri="{FF2B5EF4-FFF2-40B4-BE49-F238E27FC236}">
                <a16:creationId xmlns:a16="http://schemas.microsoft.com/office/drawing/2014/main" id="{2EB71304-1065-E4B5-92C9-0D211E993EAB}"/>
              </a:ext>
            </a:extLst>
          </p:cNvPr>
          <p:cNvSpPr txBox="1"/>
          <p:nvPr/>
        </p:nvSpPr>
        <p:spPr>
          <a:xfrm>
            <a:off x="4792669" y="3611720"/>
            <a:ext cx="350540" cy="205629"/>
          </a:xfrm>
          <a:prstGeom prst="rect">
            <a:avLst/>
          </a:prstGeom>
          <a:noFill/>
        </p:spPr>
        <p:txBody>
          <a:bodyPr wrap="none" lIns="36000" tIns="36000" rIns="0" bIns="0">
            <a:spAutoFit/>
          </a:bodyPr>
          <a:lstStyle/>
          <a:p>
            <a:r>
              <a:rPr lang="en-GB" sz="1100" b="1" dirty="0"/>
              <a:t>2024</a:t>
            </a:r>
            <a:endParaRPr lang="en-GB" sz="1050" dirty="0"/>
          </a:p>
        </p:txBody>
      </p:sp>
      <p:graphicFrame>
        <p:nvGraphicFramePr>
          <p:cNvPr id="38" name="Diagramm 130">
            <a:extLst>
              <a:ext uri="{FF2B5EF4-FFF2-40B4-BE49-F238E27FC236}">
                <a16:creationId xmlns:a16="http://schemas.microsoft.com/office/drawing/2014/main" id="{B467B54F-3348-69DA-BA93-87A7C7B420B5}"/>
              </a:ext>
            </a:extLst>
          </p:cNvPr>
          <p:cNvGraphicFramePr/>
          <p:nvPr/>
        </p:nvGraphicFramePr>
        <p:xfrm>
          <a:off x="6103563" y="4014023"/>
          <a:ext cx="368888" cy="36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9" name="Textfeld 70">
            <a:extLst>
              <a:ext uri="{FF2B5EF4-FFF2-40B4-BE49-F238E27FC236}">
                <a16:creationId xmlns:a16="http://schemas.microsoft.com/office/drawing/2014/main" id="{09AA1C79-3FEB-423C-407F-C315CBC888D7}"/>
              </a:ext>
            </a:extLst>
          </p:cNvPr>
          <p:cNvSpPr txBox="1"/>
          <p:nvPr/>
        </p:nvSpPr>
        <p:spPr>
          <a:xfrm>
            <a:off x="6355089" y="4399318"/>
            <a:ext cx="327580" cy="190240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33%</a:t>
            </a:r>
          </a:p>
        </p:txBody>
      </p:sp>
      <p:sp>
        <p:nvSpPr>
          <p:cNvPr id="40" name="Textfeld 70">
            <a:extLst>
              <a:ext uri="{FF2B5EF4-FFF2-40B4-BE49-F238E27FC236}">
                <a16:creationId xmlns:a16="http://schemas.microsoft.com/office/drawing/2014/main" id="{32995285-7C01-1822-1D4A-8C82614A4E83}"/>
              </a:ext>
            </a:extLst>
          </p:cNvPr>
          <p:cNvSpPr txBox="1"/>
          <p:nvPr/>
        </p:nvSpPr>
        <p:spPr>
          <a:xfrm>
            <a:off x="5907766" y="3852338"/>
            <a:ext cx="327581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000" b="1" dirty="0">
                <a:solidFill>
                  <a:srgbClr val="D4DB12"/>
                </a:solidFill>
              </a:rPr>
              <a:t>67%</a:t>
            </a:r>
          </a:p>
        </p:txBody>
      </p:sp>
      <p:sp>
        <p:nvSpPr>
          <p:cNvPr id="50" name="Rechteck 142">
            <a:extLst>
              <a:ext uri="{FF2B5EF4-FFF2-40B4-BE49-F238E27FC236}">
                <a16:creationId xmlns:a16="http://schemas.microsoft.com/office/drawing/2014/main" id="{92DB1F35-ED5B-B812-EE76-FDE672A7CFC1}"/>
              </a:ext>
            </a:extLst>
          </p:cNvPr>
          <p:cNvSpPr/>
          <p:nvPr/>
        </p:nvSpPr>
        <p:spPr>
          <a:xfrm>
            <a:off x="2761958" y="3122675"/>
            <a:ext cx="1890000" cy="1465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0" bIns="36000" rtlCol="0" anchor="t"/>
          <a:lstStyle/>
          <a:p>
            <a:r>
              <a:rPr lang="en-GB" sz="1200" dirty="0">
                <a:solidFill>
                  <a:schemeClr val="tx1"/>
                </a:solidFill>
              </a:rPr>
              <a:t>Avoid issues with travel logistics</a:t>
            </a:r>
            <a:r>
              <a:rPr lang="en-GB" sz="1200" spc="-20" dirty="0">
                <a:solidFill>
                  <a:schemeClr val="tx1"/>
                </a:solidFill>
              </a:rPr>
              <a:t> </a:t>
            </a:r>
            <a:r>
              <a:rPr lang="en-GB" sz="900" spc="-20" dirty="0">
                <a:solidFill>
                  <a:schemeClr val="tx1"/>
                </a:solidFill>
              </a:rPr>
              <a:t>(e.g. strikes, weather, ...)</a:t>
            </a:r>
            <a:endParaRPr lang="en-GB" sz="1200" spc="-20" dirty="0">
              <a:solidFill>
                <a:schemeClr val="tx1"/>
              </a:solidFill>
            </a:endParaRPr>
          </a:p>
        </p:txBody>
      </p:sp>
      <p:graphicFrame>
        <p:nvGraphicFramePr>
          <p:cNvPr id="52" name="Diagramm 144">
            <a:extLst>
              <a:ext uri="{FF2B5EF4-FFF2-40B4-BE49-F238E27FC236}">
                <a16:creationId xmlns:a16="http://schemas.microsoft.com/office/drawing/2014/main" id="{E7F9A9AD-3B6C-B394-2A4F-6B059CF26D2F}"/>
              </a:ext>
            </a:extLst>
          </p:cNvPr>
          <p:cNvGraphicFramePr/>
          <p:nvPr/>
        </p:nvGraphicFramePr>
        <p:xfrm>
          <a:off x="2992621" y="3995870"/>
          <a:ext cx="447930" cy="447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3" name="Textfeld 70">
            <a:extLst>
              <a:ext uri="{FF2B5EF4-FFF2-40B4-BE49-F238E27FC236}">
                <a16:creationId xmlns:a16="http://schemas.microsoft.com/office/drawing/2014/main" id="{08BEFC46-572A-24EC-CAD4-E0F7274D79A7}"/>
              </a:ext>
            </a:extLst>
          </p:cNvPr>
          <p:cNvSpPr txBox="1"/>
          <p:nvPr/>
        </p:nvSpPr>
        <p:spPr>
          <a:xfrm>
            <a:off x="3361172" y="4382246"/>
            <a:ext cx="354832" cy="205629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100" dirty="0">
                <a:solidFill>
                  <a:schemeClr val="accent6"/>
                </a:solidFill>
              </a:rPr>
              <a:t>20%</a:t>
            </a:r>
          </a:p>
        </p:txBody>
      </p:sp>
      <p:sp>
        <p:nvSpPr>
          <p:cNvPr id="54" name="Textfeld 70">
            <a:extLst>
              <a:ext uri="{FF2B5EF4-FFF2-40B4-BE49-F238E27FC236}">
                <a16:creationId xmlns:a16="http://schemas.microsoft.com/office/drawing/2014/main" id="{D48F7538-ABBD-3BD4-57D0-3C0C6835BD9C}"/>
              </a:ext>
            </a:extLst>
          </p:cNvPr>
          <p:cNvSpPr txBox="1"/>
          <p:nvPr/>
        </p:nvSpPr>
        <p:spPr>
          <a:xfrm>
            <a:off x="2819782" y="3811939"/>
            <a:ext cx="354832" cy="169277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100" b="1" dirty="0">
                <a:solidFill>
                  <a:srgbClr val="337878"/>
                </a:solidFill>
              </a:rPr>
              <a:t>80%</a:t>
            </a:r>
          </a:p>
        </p:txBody>
      </p:sp>
      <p:sp>
        <p:nvSpPr>
          <p:cNvPr id="55" name="Textfeld 147">
            <a:extLst>
              <a:ext uri="{FF2B5EF4-FFF2-40B4-BE49-F238E27FC236}">
                <a16:creationId xmlns:a16="http://schemas.microsoft.com/office/drawing/2014/main" id="{B55BB898-16D0-0FB8-7F87-D94A78007D98}"/>
              </a:ext>
            </a:extLst>
          </p:cNvPr>
          <p:cNvSpPr txBox="1"/>
          <p:nvPr/>
        </p:nvSpPr>
        <p:spPr>
          <a:xfrm>
            <a:off x="2761958" y="3609113"/>
            <a:ext cx="350540" cy="205629"/>
          </a:xfrm>
          <a:prstGeom prst="rect">
            <a:avLst/>
          </a:prstGeom>
          <a:noFill/>
        </p:spPr>
        <p:txBody>
          <a:bodyPr wrap="none" lIns="36000" tIns="36000" rIns="0" bIns="0">
            <a:spAutoFit/>
          </a:bodyPr>
          <a:lstStyle/>
          <a:p>
            <a:r>
              <a:rPr lang="en-GB" sz="1100" b="1" dirty="0"/>
              <a:t>2024</a:t>
            </a:r>
            <a:endParaRPr lang="en-GB" sz="1050" dirty="0"/>
          </a:p>
        </p:txBody>
      </p:sp>
      <p:graphicFrame>
        <p:nvGraphicFramePr>
          <p:cNvPr id="56" name="Diagramm 203">
            <a:extLst>
              <a:ext uri="{FF2B5EF4-FFF2-40B4-BE49-F238E27FC236}">
                <a16:creationId xmlns:a16="http://schemas.microsoft.com/office/drawing/2014/main" id="{D3F43E52-4E4A-963E-9B95-D8287A1FBA82}"/>
              </a:ext>
            </a:extLst>
          </p:cNvPr>
          <p:cNvGraphicFramePr/>
          <p:nvPr/>
        </p:nvGraphicFramePr>
        <p:xfrm>
          <a:off x="4072597" y="4011416"/>
          <a:ext cx="368888" cy="36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57" name="Textfeld 70">
            <a:extLst>
              <a:ext uri="{FF2B5EF4-FFF2-40B4-BE49-F238E27FC236}">
                <a16:creationId xmlns:a16="http://schemas.microsoft.com/office/drawing/2014/main" id="{8E7C66B3-B4D9-09E8-6ACC-9D202D92172C}"/>
              </a:ext>
            </a:extLst>
          </p:cNvPr>
          <p:cNvSpPr txBox="1"/>
          <p:nvPr/>
        </p:nvSpPr>
        <p:spPr>
          <a:xfrm>
            <a:off x="4324123" y="4397635"/>
            <a:ext cx="327580" cy="190240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27%</a:t>
            </a:r>
          </a:p>
        </p:txBody>
      </p:sp>
      <p:sp>
        <p:nvSpPr>
          <p:cNvPr id="58" name="Textfeld 70">
            <a:extLst>
              <a:ext uri="{FF2B5EF4-FFF2-40B4-BE49-F238E27FC236}">
                <a16:creationId xmlns:a16="http://schemas.microsoft.com/office/drawing/2014/main" id="{27074560-CB64-85BA-5C0A-E5EA14FB0B67}"/>
              </a:ext>
            </a:extLst>
          </p:cNvPr>
          <p:cNvSpPr txBox="1"/>
          <p:nvPr/>
        </p:nvSpPr>
        <p:spPr>
          <a:xfrm>
            <a:off x="3862379" y="3856958"/>
            <a:ext cx="327581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000" b="1" dirty="0">
                <a:solidFill>
                  <a:srgbClr val="D4DB12"/>
                </a:solidFill>
              </a:rPr>
              <a:t>73%</a:t>
            </a:r>
          </a:p>
        </p:txBody>
      </p:sp>
      <p:sp>
        <p:nvSpPr>
          <p:cNvPr id="59" name="Rechteck 206">
            <a:extLst>
              <a:ext uri="{FF2B5EF4-FFF2-40B4-BE49-F238E27FC236}">
                <a16:creationId xmlns:a16="http://schemas.microsoft.com/office/drawing/2014/main" id="{D7705B35-253B-91F6-F523-24CE638F5184}"/>
              </a:ext>
            </a:extLst>
          </p:cNvPr>
          <p:cNvSpPr/>
          <p:nvPr/>
        </p:nvSpPr>
        <p:spPr>
          <a:xfrm>
            <a:off x="4796702" y="1475712"/>
            <a:ext cx="1890000" cy="14652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r>
              <a:rPr lang="en-GB" sz="1200" dirty="0">
                <a:solidFill>
                  <a:schemeClr val="tx1"/>
                </a:solidFill>
              </a:rPr>
              <a:t>Better balance family</a:t>
            </a:r>
            <a:br>
              <a:rPr lang="en-GB" sz="1200" dirty="0">
                <a:solidFill>
                  <a:schemeClr val="tx1"/>
                </a:solidFill>
              </a:rPr>
            </a:br>
            <a:r>
              <a:rPr lang="en-GB" sz="1200" dirty="0">
                <a:solidFill>
                  <a:schemeClr val="tx1"/>
                </a:solidFill>
              </a:rPr>
              <a:t>and work </a:t>
            </a:r>
          </a:p>
        </p:txBody>
      </p:sp>
      <p:graphicFrame>
        <p:nvGraphicFramePr>
          <p:cNvPr id="61" name="Diagramm 208">
            <a:extLst>
              <a:ext uri="{FF2B5EF4-FFF2-40B4-BE49-F238E27FC236}">
                <a16:creationId xmlns:a16="http://schemas.microsoft.com/office/drawing/2014/main" id="{7365A600-8251-D0AF-D1DC-457991F81536}"/>
              </a:ext>
            </a:extLst>
          </p:cNvPr>
          <p:cNvGraphicFramePr/>
          <p:nvPr/>
        </p:nvGraphicFramePr>
        <p:xfrm>
          <a:off x="5027365" y="2348907"/>
          <a:ext cx="447930" cy="447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62" name="Textfeld 70">
            <a:extLst>
              <a:ext uri="{FF2B5EF4-FFF2-40B4-BE49-F238E27FC236}">
                <a16:creationId xmlns:a16="http://schemas.microsoft.com/office/drawing/2014/main" id="{2F803173-694E-D66F-4C72-1E7C3ADC0B13}"/>
              </a:ext>
            </a:extLst>
          </p:cNvPr>
          <p:cNvSpPr txBox="1"/>
          <p:nvPr/>
        </p:nvSpPr>
        <p:spPr>
          <a:xfrm>
            <a:off x="5411875" y="2735283"/>
            <a:ext cx="354832" cy="205629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100" dirty="0">
                <a:solidFill>
                  <a:schemeClr val="accent6"/>
                </a:solidFill>
              </a:rPr>
              <a:t>30%</a:t>
            </a:r>
          </a:p>
        </p:txBody>
      </p:sp>
      <p:sp>
        <p:nvSpPr>
          <p:cNvPr id="63" name="Textfeld 70">
            <a:extLst>
              <a:ext uri="{FF2B5EF4-FFF2-40B4-BE49-F238E27FC236}">
                <a16:creationId xmlns:a16="http://schemas.microsoft.com/office/drawing/2014/main" id="{BC752D90-EBCA-50B2-5AD8-67C5BCF3C6B8}"/>
              </a:ext>
            </a:extLst>
          </p:cNvPr>
          <p:cNvSpPr txBox="1"/>
          <p:nvPr/>
        </p:nvSpPr>
        <p:spPr>
          <a:xfrm>
            <a:off x="4854526" y="2164976"/>
            <a:ext cx="354832" cy="169277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100" b="1" dirty="0">
                <a:solidFill>
                  <a:srgbClr val="337878"/>
                </a:solidFill>
              </a:rPr>
              <a:t>70%</a:t>
            </a:r>
          </a:p>
        </p:txBody>
      </p:sp>
      <p:sp>
        <p:nvSpPr>
          <p:cNvPr id="64" name="Textfeld 211">
            <a:extLst>
              <a:ext uri="{FF2B5EF4-FFF2-40B4-BE49-F238E27FC236}">
                <a16:creationId xmlns:a16="http://schemas.microsoft.com/office/drawing/2014/main" id="{39B6BE94-92A9-3943-9D93-5771D7F6BA1F}"/>
              </a:ext>
            </a:extLst>
          </p:cNvPr>
          <p:cNvSpPr txBox="1"/>
          <p:nvPr/>
        </p:nvSpPr>
        <p:spPr>
          <a:xfrm>
            <a:off x="4796702" y="1962150"/>
            <a:ext cx="350540" cy="205629"/>
          </a:xfrm>
          <a:prstGeom prst="rect">
            <a:avLst/>
          </a:prstGeom>
          <a:noFill/>
        </p:spPr>
        <p:txBody>
          <a:bodyPr wrap="none" lIns="36000" tIns="36000" rIns="0" bIns="0">
            <a:spAutoFit/>
          </a:bodyPr>
          <a:lstStyle/>
          <a:p>
            <a:r>
              <a:rPr lang="en-GB" sz="1100" b="1" dirty="0"/>
              <a:t>2024</a:t>
            </a:r>
            <a:endParaRPr lang="en-GB" sz="1050" dirty="0"/>
          </a:p>
        </p:txBody>
      </p:sp>
      <p:graphicFrame>
        <p:nvGraphicFramePr>
          <p:cNvPr id="65" name="Diagramm 212">
            <a:extLst>
              <a:ext uri="{FF2B5EF4-FFF2-40B4-BE49-F238E27FC236}">
                <a16:creationId xmlns:a16="http://schemas.microsoft.com/office/drawing/2014/main" id="{95A0B624-5987-C4C8-33BC-B318F4E6B3CF}"/>
              </a:ext>
            </a:extLst>
          </p:cNvPr>
          <p:cNvGraphicFramePr/>
          <p:nvPr/>
        </p:nvGraphicFramePr>
        <p:xfrm>
          <a:off x="6107468" y="2364453"/>
          <a:ext cx="368888" cy="368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66" name="Textfeld 70">
            <a:extLst>
              <a:ext uri="{FF2B5EF4-FFF2-40B4-BE49-F238E27FC236}">
                <a16:creationId xmlns:a16="http://schemas.microsoft.com/office/drawing/2014/main" id="{E2606C42-BB1C-097F-4B76-9EEF39624538}"/>
              </a:ext>
            </a:extLst>
          </p:cNvPr>
          <p:cNvSpPr txBox="1"/>
          <p:nvPr/>
        </p:nvSpPr>
        <p:spPr>
          <a:xfrm>
            <a:off x="6358994" y="2750672"/>
            <a:ext cx="327580" cy="190240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39%</a:t>
            </a:r>
          </a:p>
        </p:txBody>
      </p:sp>
      <p:sp>
        <p:nvSpPr>
          <p:cNvPr id="67" name="Textfeld 70">
            <a:extLst>
              <a:ext uri="{FF2B5EF4-FFF2-40B4-BE49-F238E27FC236}">
                <a16:creationId xmlns:a16="http://schemas.microsoft.com/office/drawing/2014/main" id="{D90CD5CD-2824-7788-D378-9C5AA2CCB256}"/>
              </a:ext>
            </a:extLst>
          </p:cNvPr>
          <p:cNvSpPr txBox="1"/>
          <p:nvPr/>
        </p:nvSpPr>
        <p:spPr>
          <a:xfrm>
            <a:off x="5897250" y="2209995"/>
            <a:ext cx="327581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000" b="1" dirty="0">
                <a:solidFill>
                  <a:srgbClr val="D4DB12"/>
                </a:solidFill>
              </a:rPr>
              <a:t>61%</a:t>
            </a:r>
          </a:p>
        </p:txBody>
      </p:sp>
      <p:graphicFrame>
        <p:nvGraphicFramePr>
          <p:cNvPr id="81" name="Diagramm 112">
            <a:extLst>
              <a:ext uri="{FF2B5EF4-FFF2-40B4-BE49-F238E27FC236}">
                <a16:creationId xmlns:a16="http://schemas.microsoft.com/office/drawing/2014/main" id="{33986A81-2E82-B46E-36C5-FD343DF0EC46}"/>
              </a:ext>
            </a:extLst>
          </p:cNvPr>
          <p:cNvGraphicFramePr/>
          <p:nvPr/>
        </p:nvGraphicFramePr>
        <p:xfrm>
          <a:off x="4071177" y="2365840"/>
          <a:ext cx="371729" cy="366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82" name="Textfeld 70">
            <a:extLst>
              <a:ext uri="{FF2B5EF4-FFF2-40B4-BE49-F238E27FC236}">
                <a16:creationId xmlns:a16="http://schemas.microsoft.com/office/drawing/2014/main" id="{3E70DE5A-B815-544B-3335-18745B4AC896}"/>
              </a:ext>
            </a:extLst>
          </p:cNvPr>
          <p:cNvSpPr txBox="1"/>
          <p:nvPr/>
        </p:nvSpPr>
        <p:spPr>
          <a:xfrm>
            <a:off x="4324123" y="2749748"/>
            <a:ext cx="327580" cy="190240"/>
          </a:xfrm>
          <a:prstGeom prst="rect">
            <a:avLst/>
          </a:prstGeom>
          <a:noFill/>
        </p:spPr>
        <p:txBody>
          <a:bodyPr wrap="none" lIns="36000" tIns="0" rIns="36000" bIns="36000" rtlCol="0" anchor="b" anchorCtr="0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21%</a:t>
            </a:r>
          </a:p>
        </p:txBody>
      </p:sp>
      <p:sp>
        <p:nvSpPr>
          <p:cNvPr id="83" name="Textfeld 70">
            <a:extLst>
              <a:ext uri="{FF2B5EF4-FFF2-40B4-BE49-F238E27FC236}">
                <a16:creationId xmlns:a16="http://schemas.microsoft.com/office/drawing/2014/main" id="{21556717-F6FE-3B98-7B21-7EB3717FE5BB}"/>
              </a:ext>
            </a:extLst>
          </p:cNvPr>
          <p:cNvSpPr txBox="1"/>
          <p:nvPr/>
        </p:nvSpPr>
        <p:spPr>
          <a:xfrm>
            <a:off x="3862379" y="2202768"/>
            <a:ext cx="327581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l"/>
            <a:r>
              <a:rPr lang="en-GB" sz="1000" b="1" dirty="0">
                <a:solidFill>
                  <a:srgbClr val="D4DB12"/>
                </a:solidFill>
              </a:rPr>
              <a:t>79%</a:t>
            </a: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E22EC600-4B5A-360D-ED38-5AC1893FB9F8}"/>
              </a:ext>
            </a:extLst>
          </p:cNvPr>
          <p:cNvSpPr/>
          <p:nvPr/>
        </p:nvSpPr>
        <p:spPr>
          <a:xfrm rot="13333038">
            <a:off x="1305537" y="2204067"/>
            <a:ext cx="290709" cy="118707"/>
          </a:xfrm>
          <a:prstGeom prst="rightArrow">
            <a:avLst>
              <a:gd name="adj1" fmla="val 31101"/>
              <a:gd name="adj2" fmla="val 50000"/>
            </a:avLst>
          </a:prstGeom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extfeld 70">
            <a:extLst>
              <a:ext uri="{FF2B5EF4-FFF2-40B4-BE49-F238E27FC236}">
                <a16:creationId xmlns:a16="http://schemas.microsoft.com/office/drawing/2014/main" id="{200496A8-0C1D-4190-6504-196A473C51A9}"/>
              </a:ext>
            </a:extLst>
          </p:cNvPr>
          <p:cNvSpPr txBox="1"/>
          <p:nvPr/>
        </p:nvSpPr>
        <p:spPr>
          <a:xfrm>
            <a:off x="1426489" y="2085222"/>
            <a:ext cx="332391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+9%</a:t>
            </a:r>
          </a:p>
        </p:txBody>
      </p:sp>
      <p:sp>
        <p:nvSpPr>
          <p:cNvPr id="70" name="Arrow: Right 69">
            <a:extLst>
              <a:ext uri="{FF2B5EF4-FFF2-40B4-BE49-F238E27FC236}">
                <a16:creationId xmlns:a16="http://schemas.microsoft.com/office/drawing/2014/main" id="{299C43F7-6281-AB7C-C094-18304B3EC3AC}"/>
              </a:ext>
            </a:extLst>
          </p:cNvPr>
          <p:cNvSpPr/>
          <p:nvPr/>
        </p:nvSpPr>
        <p:spPr>
          <a:xfrm rot="13333038">
            <a:off x="3381331" y="2200944"/>
            <a:ext cx="290709" cy="118707"/>
          </a:xfrm>
          <a:prstGeom prst="rightArrow">
            <a:avLst>
              <a:gd name="adj1" fmla="val 31101"/>
              <a:gd name="adj2" fmla="val 50000"/>
            </a:avLst>
          </a:prstGeom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B8492065-2C9C-C3C4-A313-C1135A80B3C3}"/>
              </a:ext>
            </a:extLst>
          </p:cNvPr>
          <p:cNvSpPr txBox="1"/>
          <p:nvPr/>
        </p:nvSpPr>
        <p:spPr>
          <a:xfrm>
            <a:off x="3502283" y="2085222"/>
            <a:ext cx="332391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+8%</a:t>
            </a:r>
          </a:p>
        </p:txBody>
      </p:sp>
      <p:sp>
        <p:nvSpPr>
          <p:cNvPr id="72" name="Arrow: Right 71">
            <a:extLst>
              <a:ext uri="{FF2B5EF4-FFF2-40B4-BE49-F238E27FC236}">
                <a16:creationId xmlns:a16="http://schemas.microsoft.com/office/drawing/2014/main" id="{72B3E5F4-596F-1357-C257-03B801E22B67}"/>
              </a:ext>
            </a:extLst>
          </p:cNvPr>
          <p:cNvSpPr/>
          <p:nvPr/>
        </p:nvSpPr>
        <p:spPr>
          <a:xfrm rot="13333038">
            <a:off x="1294813" y="3819200"/>
            <a:ext cx="290709" cy="118707"/>
          </a:xfrm>
          <a:prstGeom prst="rightArrow">
            <a:avLst>
              <a:gd name="adj1" fmla="val 31101"/>
              <a:gd name="adj2" fmla="val 50000"/>
            </a:avLst>
          </a:prstGeom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" name="Textfeld 70">
            <a:extLst>
              <a:ext uri="{FF2B5EF4-FFF2-40B4-BE49-F238E27FC236}">
                <a16:creationId xmlns:a16="http://schemas.microsoft.com/office/drawing/2014/main" id="{2467BE4B-188B-4029-5547-E3C1C7C8C9CB}"/>
              </a:ext>
            </a:extLst>
          </p:cNvPr>
          <p:cNvSpPr txBox="1"/>
          <p:nvPr/>
        </p:nvSpPr>
        <p:spPr>
          <a:xfrm>
            <a:off x="1390954" y="3727320"/>
            <a:ext cx="402922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+12%</a:t>
            </a:r>
          </a:p>
        </p:txBody>
      </p:sp>
      <p:sp>
        <p:nvSpPr>
          <p:cNvPr id="76" name="Arrow: Right 75">
            <a:extLst>
              <a:ext uri="{FF2B5EF4-FFF2-40B4-BE49-F238E27FC236}">
                <a16:creationId xmlns:a16="http://schemas.microsoft.com/office/drawing/2014/main" id="{E31817ED-2788-F118-591E-B6F62B0D5877}"/>
              </a:ext>
            </a:extLst>
          </p:cNvPr>
          <p:cNvSpPr/>
          <p:nvPr/>
        </p:nvSpPr>
        <p:spPr>
          <a:xfrm rot="13333038">
            <a:off x="5386626" y="3826672"/>
            <a:ext cx="290709" cy="118707"/>
          </a:xfrm>
          <a:prstGeom prst="rightArrow">
            <a:avLst>
              <a:gd name="adj1" fmla="val 31101"/>
              <a:gd name="adj2" fmla="val 50000"/>
            </a:avLst>
          </a:prstGeom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4" name="Textfeld 70">
            <a:extLst>
              <a:ext uri="{FF2B5EF4-FFF2-40B4-BE49-F238E27FC236}">
                <a16:creationId xmlns:a16="http://schemas.microsoft.com/office/drawing/2014/main" id="{B31E3E3A-799B-7FA2-2DEB-371B7135C7E4}"/>
              </a:ext>
            </a:extLst>
          </p:cNvPr>
          <p:cNvSpPr txBox="1"/>
          <p:nvPr/>
        </p:nvSpPr>
        <p:spPr>
          <a:xfrm>
            <a:off x="5482767" y="3734792"/>
            <a:ext cx="402922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+13%</a:t>
            </a:r>
          </a:p>
        </p:txBody>
      </p:sp>
      <p:grpSp>
        <p:nvGrpSpPr>
          <p:cNvPr id="132" name="Gruppieren 131">
            <a:extLst>
              <a:ext uri="{FF2B5EF4-FFF2-40B4-BE49-F238E27FC236}">
                <a16:creationId xmlns:a16="http://schemas.microsoft.com/office/drawing/2014/main" id="{7CB946C3-9A7A-CE0F-CD7D-7A4AC8DE6C94}"/>
              </a:ext>
            </a:extLst>
          </p:cNvPr>
          <p:cNvGrpSpPr/>
          <p:nvPr/>
        </p:nvGrpSpPr>
        <p:grpSpPr>
          <a:xfrm>
            <a:off x="5401822" y="2095270"/>
            <a:ext cx="463891" cy="215668"/>
            <a:chOff x="5633156" y="3673564"/>
            <a:chExt cx="463891" cy="215668"/>
          </a:xfrm>
        </p:grpSpPr>
        <p:sp>
          <p:nvSpPr>
            <p:cNvPr id="85" name="Arrow: Right 84">
              <a:extLst>
                <a:ext uri="{FF2B5EF4-FFF2-40B4-BE49-F238E27FC236}">
                  <a16:creationId xmlns:a16="http://schemas.microsoft.com/office/drawing/2014/main" id="{20F19987-5C0F-5F7A-B49F-5D3C29A42A64}"/>
                </a:ext>
              </a:extLst>
            </p:cNvPr>
            <p:cNvSpPr/>
            <p:nvPr/>
          </p:nvSpPr>
          <p:spPr>
            <a:xfrm rot="13333038">
              <a:off x="5633156" y="3770525"/>
              <a:ext cx="290709" cy="118707"/>
            </a:xfrm>
            <a:prstGeom prst="rightArrow">
              <a:avLst>
                <a:gd name="adj1" fmla="val 31101"/>
                <a:gd name="adj2" fmla="val 50000"/>
              </a:avLst>
            </a:prstGeom>
            <a:ln>
              <a:noFill/>
            </a:ln>
          </p:spPr>
          <p:style>
            <a:lnRef idx="2">
              <a:schemeClr val="accent6">
                <a:shade val="15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6" name="Textfeld 70">
              <a:extLst>
                <a:ext uri="{FF2B5EF4-FFF2-40B4-BE49-F238E27FC236}">
                  <a16:creationId xmlns:a16="http://schemas.microsoft.com/office/drawing/2014/main" id="{7005A917-0D6F-05B7-38E0-DD9B67EF21E8}"/>
                </a:ext>
              </a:extLst>
            </p:cNvPr>
            <p:cNvSpPr txBox="1"/>
            <p:nvPr/>
          </p:nvSpPr>
          <p:spPr>
            <a:xfrm>
              <a:off x="5764657" y="3673564"/>
              <a:ext cx="332390" cy="153888"/>
            </a:xfrm>
            <a:prstGeom prst="rect">
              <a:avLst/>
            </a:prstGeom>
            <a:noFill/>
          </p:spPr>
          <p:txBody>
            <a:bodyPr wrap="none" lIns="36000" tIns="0" rIns="36000" bIns="0" rtlCol="0" anchor="ctr">
              <a:spAutoFit/>
            </a:bodyPr>
            <a:lstStyle>
              <a:defPPr>
                <a:defRPr lang="en-US"/>
              </a:defPPr>
              <a:lvl1pPr algn="ctr" fontAlgn="b">
                <a:defRPr sz="1600"/>
              </a:lvl1pPr>
            </a:lstStyle>
            <a:p>
              <a:pPr algn="r"/>
              <a:r>
                <a:rPr lang="en-GB" sz="1000" dirty="0">
                  <a:solidFill>
                    <a:schemeClr val="accent6"/>
                  </a:solidFill>
                </a:rPr>
                <a:t>+9%</a:t>
              </a:r>
            </a:p>
          </p:txBody>
        </p:sp>
      </p:grpSp>
      <p:sp>
        <p:nvSpPr>
          <p:cNvPr id="90" name="Arrow: Right 89">
            <a:extLst>
              <a:ext uri="{FF2B5EF4-FFF2-40B4-BE49-F238E27FC236}">
                <a16:creationId xmlns:a16="http://schemas.microsoft.com/office/drawing/2014/main" id="{543F82B6-A353-7F26-EB37-B824AD4A1E8F}"/>
              </a:ext>
            </a:extLst>
          </p:cNvPr>
          <p:cNvSpPr/>
          <p:nvPr/>
        </p:nvSpPr>
        <p:spPr>
          <a:xfrm rot="13333038">
            <a:off x="3371171" y="3835287"/>
            <a:ext cx="290709" cy="118707"/>
          </a:xfrm>
          <a:prstGeom prst="rightArrow">
            <a:avLst>
              <a:gd name="adj1" fmla="val 31101"/>
              <a:gd name="adj2" fmla="val 50000"/>
            </a:avLst>
          </a:prstGeom>
          <a:ln>
            <a:noFill/>
          </a:ln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1" name="Textfeld 70">
            <a:extLst>
              <a:ext uri="{FF2B5EF4-FFF2-40B4-BE49-F238E27FC236}">
                <a16:creationId xmlns:a16="http://schemas.microsoft.com/office/drawing/2014/main" id="{798DD6A5-F366-CF2E-F5C8-8DCBC19D5FCE}"/>
              </a:ext>
            </a:extLst>
          </p:cNvPr>
          <p:cNvSpPr txBox="1"/>
          <p:nvPr/>
        </p:nvSpPr>
        <p:spPr>
          <a:xfrm>
            <a:off x="3502284" y="3741842"/>
            <a:ext cx="332390" cy="153888"/>
          </a:xfrm>
          <a:prstGeom prst="rect">
            <a:avLst/>
          </a:prstGeom>
          <a:noFill/>
        </p:spPr>
        <p:txBody>
          <a:bodyPr wrap="none" lIns="36000" tIns="0" rIns="36000" bIns="0" rtlCol="0" anchor="ctr">
            <a:spAutoFit/>
          </a:bodyPr>
          <a:lstStyle>
            <a:defPPr>
              <a:defRPr lang="en-US"/>
            </a:defPPr>
            <a:lvl1pPr algn="ctr" fontAlgn="b">
              <a:defRPr sz="1600"/>
            </a:lvl1pPr>
          </a:lstStyle>
          <a:p>
            <a:pPr algn="r"/>
            <a:r>
              <a:rPr lang="en-GB" sz="1000" dirty="0">
                <a:solidFill>
                  <a:schemeClr val="accent6"/>
                </a:solidFill>
              </a:rPr>
              <a:t>+7%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0DFB75EB-0D03-EFAF-7101-9E98115DBCCD}"/>
              </a:ext>
            </a:extLst>
          </p:cNvPr>
          <p:cNvSpPr/>
          <p:nvPr/>
        </p:nvSpPr>
        <p:spPr>
          <a:xfrm>
            <a:off x="687387" y="4648073"/>
            <a:ext cx="108000" cy="108000"/>
          </a:xfrm>
          <a:prstGeom prst="rect">
            <a:avLst/>
          </a:prstGeom>
          <a:solidFill>
            <a:srgbClr val="3378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00" dirty="0"/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0DD15345-9D38-C4DB-2178-5F8F0872967A}"/>
              </a:ext>
            </a:extLst>
          </p:cNvPr>
          <p:cNvSpPr txBox="1"/>
          <p:nvPr/>
        </p:nvSpPr>
        <p:spPr>
          <a:xfrm>
            <a:off x="986661" y="4647451"/>
            <a:ext cx="212558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</a:rPr>
              <a:t>very important, important, somewhat important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04FFA15-ACDF-D600-0710-8A1C8B4623E7}"/>
              </a:ext>
            </a:extLst>
          </p:cNvPr>
          <p:cNvSpPr/>
          <p:nvPr/>
        </p:nvSpPr>
        <p:spPr>
          <a:xfrm>
            <a:off x="3257743" y="4648074"/>
            <a:ext cx="108000" cy="10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00" dirty="0"/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4E04A401-487D-22B8-386B-10769543F756}"/>
              </a:ext>
            </a:extLst>
          </p:cNvPr>
          <p:cNvSpPr txBox="1"/>
          <p:nvPr/>
        </p:nvSpPr>
        <p:spPr>
          <a:xfrm>
            <a:off x="3402178" y="4640518"/>
            <a:ext cx="100989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</a:rPr>
              <a:t>neutral, non-important</a:t>
            </a:r>
            <a:endParaRPr lang="en-GB" sz="800" baseline="30000" dirty="0">
              <a:solidFill>
                <a:schemeClr val="tx1"/>
              </a:solidFill>
            </a:endParaRPr>
          </a:p>
        </p:txBody>
      </p:sp>
      <p:sp>
        <p:nvSpPr>
          <p:cNvPr id="15" name="Rechteck 74">
            <a:extLst>
              <a:ext uri="{FF2B5EF4-FFF2-40B4-BE49-F238E27FC236}">
                <a16:creationId xmlns:a16="http://schemas.microsoft.com/office/drawing/2014/main" id="{40A1F123-682F-4929-8D41-D496974CACF7}"/>
              </a:ext>
            </a:extLst>
          </p:cNvPr>
          <p:cNvSpPr/>
          <p:nvPr/>
        </p:nvSpPr>
        <p:spPr>
          <a:xfrm>
            <a:off x="842226" y="4648073"/>
            <a:ext cx="108000" cy="108000"/>
          </a:xfrm>
          <a:prstGeom prst="rect">
            <a:avLst/>
          </a:prstGeom>
          <a:solidFill>
            <a:srgbClr val="D4DB1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00" dirty="0"/>
          </a:p>
        </p:txBody>
      </p:sp>
      <p:sp>
        <p:nvSpPr>
          <p:cNvPr id="24" name="Foliennummernplatzhalter 4">
            <a:extLst>
              <a:ext uri="{FF2B5EF4-FFF2-40B4-BE49-F238E27FC236}">
                <a16:creationId xmlns:a16="http://schemas.microsoft.com/office/drawing/2014/main" id="{A1A42F26-471F-E519-DACB-AAF325CFB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</p:spPr>
        <p:txBody>
          <a:bodyPr/>
          <a:lstStyle/>
          <a:p>
            <a:fld id="{B6EAC15D-B94B-4B86-ABD3-3EDECDB333F5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1450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AD3CF64-C7CD-6B98-C1AD-D85304745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701" y="804213"/>
            <a:ext cx="8114400" cy="553998"/>
          </a:xfrm>
        </p:spPr>
        <p:txBody>
          <a:bodyPr/>
          <a:lstStyle/>
          <a:p>
            <a:r>
              <a:rPr lang="en-GB" dirty="0"/>
              <a:t>General advantages of digital examination (2/2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0AA5B9-A1E6-CF44-0DB0-C098E77EED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701" y="1479553"/>
            <a:ext cx="8114400" cy="3108322"/>
          </a:xfrm>
        </p:spPr>
        <p:txBody>
          <a:bodyPr/>
          <a:lstStyle/>
          <a:p>
            <a:r>
              <a:rPr lang="en-GB" dirty="0"/>
              <a:t>Candidates rated the flexibility and advantages of sitting the exam digitally from a preferred </a:t>
            </a:r>
            <a:r>
              <a:rPr lang="en-GB" b="1" dirty="0">
                <a:solidFill>
                  <a:srgbClr val="337878"/>
                </a:solidFill>
              </a:rPr>
              <a:t>above 80% and again higher</a:t>
            </a:r>
            <a:r>
              <a:rPr lang="en-GB" dirty="0"/>
              <a:t> than in 2023, with family-work-balance reaching 70%.</a:t>
            </a:r>
          </a:p>
          <a:p>
            <a:endParaRPr lang="en-GB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59AD947-B3D0-FD43-8842-D0CDC508D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</p:spPr>
        <p:txBody>
          <a:bodyPr/>
          <a:lstStyle/>
          <a:p>
            <a:r>
              <a:rPr lang="en-GB" dirty="0"/>
              <a:t>EQE 2024 – Survey summary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AAD9D32-9A7C-92F0-BA7D-C6C60237E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</p:spPr>
        <p:txBody>
          <a:bodyPr/>
          <a:lstStyle/>
          <a:p>
            <a:fld id="{B6EAC15D-B94B-4B86-ABD3-3EDECDB333F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EF23A49-5DDE-7149-2AE9-9D1A4C0ADA62}"/>
              </a:ext>
            </a:extLst>
          </p:cNvPr>
          <p:cNvSpPr/>
          <p:nvPr/>
        </p:nvSpPr>
        <p:spPr>
          <a:xfrm>
            <a:off x="687387" y="4648073"/>
            <a:ext cx="108000" cy="108000"/>
          </a:xfrm>
          <a:prstGeom prst="rect">
            <a:avLst/>
          </a:prstGeom>
          <a:solidFill>
            <a:srgbClr val="33787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1B566F1-47F1-E4EE-D2A2-0FC651CE7660}"/>
              </a:ext>
            </a:extLst>
          </p:cNvPr>
          <p:cNvSpPr txBox="1"/>
          <p:nvPr/>
        </p:nvSpPr>
        <p:spPr>
          <a:xfrm>
            <a:off x="1068011" y="4640517"/>
            <a:ext cx="212558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</a:rPr>
              <a:t>very important, important, somewhat importan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CC3D0B9-9EBD-B48A-A377-0EA4C5850C18}"/>
              </a:ext>
            </a:extLst>
          </p:cNvPr>
          <p:cNvSpPr/>
          <p:nvPr/>
        </p:nvSpPr>
        <p:spPr>
          <a:xfrm>
            <a:off x="3406078" y="4655217"/>
            <a:ext cx="108000" cy="10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E9A7E2F-F840-961B-EE30-ABE4062F92D2}"/>
              </a:ext>
            </a:extLst>
          </p:cNvPr>
          <p:cNvSpPr txBox="1"/>
          <p:nvPr/>
        </p:nvSpPr>
        <p:spPr>
          <a:xfrm>
            <a:off x="3619361" y="4640517"/>
            <a:ext cx="100989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>
                <a:solidFill>
                  <a:schemeClr val="tx1"/>
                </a:solidFill>
              </a:rPr>
              <a:t>neutral, non-important</a:t>
            </a:r>
            <a:endParaRPr lang="en-GB" sz="800" baseline="30000" dirty="0">
              <a:solidFill>
                <a:schemeClr val="tx1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29E3266-9437-3F44-8210-845C983B73D3}"/>
              </a:ext>
            </a:extLst>
          </p:cNvPr>
          <p:cNvSpPr txBox="1"/>
          <p:nvPr/>
        </p:nvSpPr>
        <p:spPr>
          <a:xfrm>
            <a:off x="686701" y="2100011"/>
            <a:ext cx="2460803" cy="467239"/>
          </a:xfrm>
          <a:prstGeom prst="rect">
            <a:avLst/>
          </a:prstGeom>
          <a:noFill/>
        </p:spPr>
        <p:txBody>
          <a:bodyPr wrap="square" lIns="0" tIns="0" rIns="0" bIns="36000" anchor="b" anchorCtr="0">
            <a:spAutoFit/>
          </a:bodyPr>
          <a:lstStyle/>
          <a:p>
            <a:r>
              <a:rPr lang="en-GB" sz="1400" dirty="0">
                <a:solidFill>
                  <a:schemeClr val="tx1"/>
                </a:solidFill>
              </a:rPr>
              <a:t>Comfort of sitting the exam in your preferred location</a:t>
            </a:r>
            <a:endParaRPr lang="en-GB" sz="1400" strike="sngStrike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72991024-D4AD-0F5C-1FBF-C1838B0B28C8}"/>
              </a:ext>
            </a:extLst>
          </p:cNvPr>
          <p:cNvCxnSpPr>
            <a:cxnSpLocks/>
          </p:cNvCxnSpPr>
          <p:nvPr/>
        </p:nvCxnSpPr>
        <p:spPr>
          <a:xfrm>
            <a:off x="687388" y="2567251"/>
            <a:ext cx="24603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EE91FF9B-BF7C-7FFE-B888-5CC1696EC8BF}"/>
              </a:ext>
            </a:extLst>
          </p:cNvPr>
          <p:cNvSpPr txBox="1"/>
          <p:nvPr/>
        </p:nvSpPr>
        <p:spPr>
          <a:xfrm>
            <a:off x="3514187" y="2100012"/>
            <a:ext cx="2460115" cy="467239"/>
          </a:xfrm>
          <a:prstGeom prst="rect">
            <a:avLst/>
          </a:prstGeom>
          <a:noFill/>
        </p:spPr>
        <p:txBody>
          <a:bodyPr wrap="square" lIns="0" tIns="0" rIns="0" bIns="36000" anchor="b" anchorCtr="0">
            <a:spAutoFit/>
          </a:bodyPr>
          <a:lstStyle/>
          <a:p>
            <a:r>
              <a:rPr lang="en-GB" sz="1400" kern="1200" spc="-2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ing able to use a computer</a:t>
            </a:r>
            <a:br>
              <a:rPr lang="en-GB" sz="1400" kern="1200" spc="-2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GB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 type answers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AE1D800-18EB-2953-3CD9-05770E71A55D}"/>
              </a:ext>
            </a:extLst>
          </p:cNvPr>
          <p:cNvCxnSpPr>
            <a:cxnSpLocks/>
          </p:cNvCxnSpPr>
          <p:nvPr/>
        </p:nvCxnSpPr>
        <p:spPr>
          <a:xfrm>
            <a:off x="3514078" y="2567251"/>
            <a:ext cx="24603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3CF26BD-7D9E-587A-FC4C-48A8D1A30349}"/>
              </a:ext>
            </a:extLst>
          </p:cNvPr>
          <p:cNvSpPr txBox="1"/>
          <p:nvPr/>
        </p:nvSpPr>
        <p:spPr>
          <a:xfrm>
            <a:off x="6340985" y="2121557"/>
            <a:ext cx="2460115" cy="445694"/>
          </a:xfrm>
          <a:prstGeom prst="rect">
            <a:avLst/>
          </a:prstGeom>
          <a:noFill/>
        </p:spPr>
        <p:txBody>
          <a:bodyPr wrap="square" lIns="0" tIns="0" rIns="0" bIns="36000" anchor="b" anchorCtr="0">
            <a:spAutoFit/>
          </a:bodyPr>
          <a:lstStyle/>
          <a:p>
            <a:pPr algn="l">
              <a:lnSpc>
                <a:spcPct val="95000"/>
              </a:lnSpc>
            </a:pPr>
            <a:r>
              <a:rPr lang="en-GB" sz="1400" b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ter balance family</a:t>
            </a:r>
            <a:br>
              <a:rPr lang="en-GB" sz="1400" b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400" b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work 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653F4A3-7D35-FBC7-3681-C9FC873BBCD3}"/>
              </a:ext>
            </a:extLst>
          </p:cNvPr>
          <p:cNvCxnSpPr>
            <a:cxnSpLocks/>
          </p:cNvCxnSpPr>
          <p:nvPr/>
        </p:nvCxnSpPr>
        <p:spPr>
          <a:xfrm>
            <a:off x="6340767" y="2567251"/>
            <a:ext cx="24603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0">
            <a:extLst>
              <a:ext uri="{FF2B5EF4-FFF2-40B4-BE49-F238E27FC236}">
                <a16:creationId xmlns:a16="http://schemas.microsoft.com/office/drawing/2014/main" id="{2ED5556A-9C2D-419E-1B2F-3F2449161D45}"/>
              </a:ext>
            </a:extLst>
          </p:cNvPr>
          <p:cNvSpPr/>
          <p:nvPr/>
        </p:nvSpPr>
        <p:spPr>
          <a:xfrm>
            <a:off x="1961626" y="2652171"/>
            <a:ext cx="1185878" cy="10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defTabSz="514213"/>
            <a:r>
              <a:rPr lang="en-GB" sz="1400" b="1" dirty="0">
                <a:solidFill>
                  <a:schemeClr val="accent2"/>
                </a:solidFill>
              </a:rPr>
              <a:t>2023</a:t>
            </a:r>
          </a:p>
        </p:txBody>
      </p:sp>
      <p:graphicFrame>
        <p:nvGraphicFramePr>
          <p:cNvPr id="24" name="Diagramm 294">
            <a:extLst>
              <a:ext uri="{FF2B5EF4-FFF2-40B4-BE49-F238E27FC236}">
                <a16:creationId xmlns:a16="http://schemas.microsoft.com/office/drawing/2014/main" id="{B755AF88-0EF2-6083-F295-3BAE59C34875}"/>
              </a:ext>
            </a:extLst>
          </p:cNvPr>
          <p:cNvGraphicFramePr/>
          <p:nvPr/>
        </p:nvGraphicFramePr>
        <p:xfrm>
          <a:off x="2284565" y="3049847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A340EE32-8AB4-1B9F-C3AF-B7A840816A99}"/>
              </a:ext>
            </a:extLst>
          </p:cNvPr>
          <p:cNvSpPr txBox="1">
            <a:spLocks/>
          </p:cNvSpPr>
          <p:nvPr/>
        </p:nvSpPr>
        <p:spPr>
          <a:xfrm>
            <a:off x="2741375" y="3481994"/>
            <a:ext cx="406129" cy="200055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300" dirty="0">
                <a:solidFill>
                  <a:schemeClr val="accent6"/>
                </a:solidFill>
                <a:ea typeface="Calibri" panose="020F0502020204030204" pitchFamily="34" charset="0"/>
              </a:rPr>
              <a:t>17%</a:t>
            </a:r>
            <a:endParaRPr lang="en-GB" sz="1300" dirty="0">
              <a:solidFill>
                <a:schemeClr val="accent6"/>
              </a:solidFill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B3F837C3-7B77-2E6B-32BB-EA4074999794}"/>
              </a:ext>
            </a:extLst>
          </p:cNvPr>
          <p:cNvSpPr txBox="1">
            <a:spLocks/>
          </p:cNvSpPr>
          <p:nvPr/>
        </p:nvSpPr>
        <p:spPr>
          <a:xfrm>
            <a:off x="1961626" y="2877924"/>
            <a:ext cx="442479" cy="272758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337878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83%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337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hteck 10">
            <a:extLst>
              <a:ext uri="{FF2B5EF4-FFF2-40B4-BE49-F238E27FC236}">
                <a16:creationId xmlns:a16="http://schemas.microsoft.com/office/drawing/2014/main" id="{3D885DAA-93F4-9BEB-81F2-E856C89F5364}"/>
              </a:ext>
            </a:extLst>
          </p:cNvPr>
          <p:cNvSpPr/>
          <p:nvPr/>
        </p:nvSpPr>
        <p:spPr>
          <a:xfrm>
            <a:off x="1961626" y="3784026"/>
            <a:ext cx="1185878" cy="80060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rtlCol="0" anchor="t"/>
          <a:lstStyle/>
          <a:p>
            <a:r>
              <a:rPr lang="en-GB" sz="1200" dirty="0">
                <a:solidFill>
                  <a:schemeClr val="accent2"/>
                </a:solidFill>
              </a:rPr>
              <a:t>2021</a:t>
            </a:r>
          </a:p>
        </p:txBody>
      </p:sp>
      <p:graphicFrame>
        <p:nvGraphicFramePr>
          <p:cNvPr id="32" name="Diagramm 294">
            <a:extLst>
              <a:ext uri="{FF2B5EF4-FFF2-40B4-BE49-F238E27FC236}">
                <a16:creationId xmlns:a16="http://schemas.microsoft.com/office/drawing/2014/main" id="{76AFCB60-6896-F678-BC02-05F3B4DBB261}"/>
              </a:ext>
            </a:extLst>
          </p:cNvPr>
          <p:cNvGraphicFramePr/>
          <p:nvPr/>
        </p:nvGraphicFramePr>
        <p:xfrm>
          <a:off x="2331407" y="4126165"/>
          <a:ext cx="396000" cy="3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A3FEC9C-F5BE-3CA5-F7DB-E4F9E715FBD9}"/>
              </a:ext>
            </a:extLst>
          </p:cNvPr>
          <p:cNvSpPr txBox="1">
            <a:spLocks/>
          </p:cNvSpPr>
          <p:nvPr/>
        </p:nvSpPr>
        <p:spPr>
          <a:xfrm>
            <a:off x="2712672" y="4378281"/>
            <a:ext cx="421590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200" spc="-20" dirty="0">
                <a:solidFill>
                  <a:schemeClr val="accent6"/>
                </a:solidFill>
                <a:ea typeface="Calibri" panose="020F0502020204030204" pitchFamily="34" charset="0"/>
              </a:rPr>
              <a:t>23.4%</a:t>
            </a:r>
            <a:endParaRPr lang="en-GB" sz="1000" spc="-20" dirty="0">
              <a:solidFill>
                <a:schemeClr val="accent6"/>
              </a:solidFill>
            </a:endParaRP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B79CCF8D-CEF7-B07D-2675-2017017D0D1C}"/>
              </a:ext>
            </a:extLst>
          </p:cNvPr>
          <p:cNvSpPr txBox="1">
            <a:spLocks/>
          </p:cNvSpPr>
          <p:nvPr/>
        </p:nvSpPr>
        <p:spPr>
          <a:xfrm>
            <a:off x="1961626" y="3948100"/>
            <a:ext cx="543469" cy="257369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rgbClr val="D4DB1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76.4%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D4DB1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hteck 10">
            <a:extLst>
              <a:ext uri="{FF2B5EF4-FFF2-40B4-BE49-F238E27FC236}">
                <a16:creationId xmlns:a16="http://schemas.microsoft.com/office/drawing/2014/main" id="{1127D724-6DDC-0A4E-0495-5AF3D760BB0B}"/>
              </a:ext>
            </a:extLst>
          </p:cNvPr>
          <p:cNvSpPr/>
          <p:nvPr/>
        </p:nvSpPr>
        <p:spPr>
          <a:xfrm>
            <a:off x="687388" y="3784026"/>
            <a:ext cx="1185878" cy="80060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rtlCol="0" anchor="t"/>
          <a:lstStyle/>
          <a:p>
            <a:r>
              <a:rPr lang="en-GB" sz="1200" dirty="0">
                <a:solidFill>
                  <a:schemeClr val="accent2"/>
                </a:solidFill>
              </a:rPr>
              <a:t>2022</a:t>
            </a:r>
          </a:p>
        </p:txBody>
      </p:sp>
      <p:graphicFrame>
        <p:nvGraphicFramePr>
          <p:cNvPr id="36" name="Diagramm 294">
            <a:extLst>
              <a:ext uri="{FF2B5EF4-FFF2-40B4-BE49-F238E27FC236}">
                <a16:creationId xmlns:a16="http://schemas.microsoft.com/office/drawing/2014/main" id="{47B1D761-5DDC-7736-D830-BE9E8ECB71ED}"/>
              </a:ext>
            </a:extLst>
          </p:cNvPr>
          <p:cNvGraphicFramePr/>
          <p:nvPr/>
        </p:nvGraphicFramePr>
        <p:xfrm>
          <a:off x="1068011" y="4126165"/>
          <a:ext cx="396000" cy="3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BE458759-1468-FFB4-B280-A1A9BFBE742C}"/>
              </a:ext>
            </a:extLst>
          </p:cNvPr>
          <p:cNvSpPr txBox="1">
            <a:spLocks/>
          </p:cNvSpPr>
          <p:nvPr/>
        </p:nvSpPr>
        <p:spPr>
          <a:xfrm>
            <a:off x="1465579" y="4378281"/>
            <a:ext cx="378877" cy="184666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200" dirty="0">
                <a:solidFill>
                  <a:schemeClr val="accent6"/>
                </a:solidFill>
                <a:ea typeface="Calibri" panose="020F0502020204030204" pitchFamily="34" charset="0"/>
              </a:rPr>
              <a:t>23%</a:t>
            </a:r>
            <a:endParaRPr lang="en-GB" sz="1000" dirty="0">
              <a:solidFill>
                <a:schemeClr val="accent6"/>
              </a:solidFill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D8F6B9D6-2D31-1A18-EB19-00E5F6B06598}"/>
              </a:ext>
            </a:extLst>
          </p:cNvPr>
          <p:cNvSpPr txBox="1">
            <a:spLocks/>
          </p:cNvSpPr>
          <p:nvPr/>
        </p:nvSpPr>
        <p:spPr>
          <a:xfrm>
            <a:off x="687388" y="3948100"/>
            <a:ext cx="415229" cy="257369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rgbClr val="D4DB1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77%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D4DB1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Rechteck 10">
            <a:extLst>
              <a:ext uri="{FF2B5EF4-FFF2-40B4-BE49-F238E27FC236}">
                <a16:creationId xmlns:a16="http://schemas.microsoft.com/office/drawing/2014/main" id="{4227F146-6F10-1B9A-12C9-34B4EC4E5C1A}"/>
              </a:ext>
            </a:extLst>
          </p:cNvPr>
          <p:cNvSpPr/>
          <p:nvPr/>
        </p:nvSpPr>
        <p:spPr>
          <a:xfrm>
            <a:off x="687388" y="2652171"/>
            <a:ext cx="1185878" cy="10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defTabSz="514213"/>
            <a:r>
              <a:rPr lang="en-GB" sz="1400" b="1" dirty="0">
                <a:solidFill>
                  <a:schemeClr val="tx1"/>
                </a:solidFill>
              </a:rPr>
              <a:t>2024</a:t>
            </a:r>
          </a:p>
        </p:txBody>
      </p:sp>
      <p:graphicFrame>
        <p:nvGraphicFramePr>
          <p:cNvPr id="41" name="Diagramm 294">
            <a:extLst>
              <a:ext uri="{FF2B5EF4-FFF2-40B4-BE49-F238E27FC236}">
                <a16:creationId xmlns:a16="http://schemas.microsoft.com/office/drawing/2014/main" id="{99A23CFE-C6D1-EDDA-63D7-B46B49962775}"/>
              </a:ext>
            </a:extLst>
          </p:cNvPr>
          <p:cNvGraphicFramePr/>
          <p:nvPr/>
        </p:nvGraphicFramePr>
        <p:xfrm>
          <a:off x="1010327" y="3049847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F573399E-1AD5-A1F4-CE53-5BD5CE4C6FE1}"/>
              </a:ext>
            </a:extLst>
          </p:cNvPr>
          <p:cNvSpPr txBox="1">
            <a:spLocks/>
          </p:cNvSpPr>
          <p:nvPr/>
        </p:nvSpPr>
        <p:spPr>
          <a:xfrm>
            <a:off x="1467137" y="3481994"/>
            <a:ext cx="406129" cy="200055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300" dirty="0">
                <a:solidFill>
                  <a:schemeClr val="accent6"/>
                </a:solidFill>
                <a:ea typeface="Calibri" panose="020F0502020204030204" pitchFamily="34" charset="0"/>
              </a:rPr>
              <a:t>15%</a:t>
            </a:r>
            <a:endParaRPr lang="en-GB" sz="1300" dirty="0">
              <a:solidFill>
                <a:schemeClr val="accent6"/>
              </a:solidFill>
            </a:endParaRP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73037D4F-8462-EA9C-3A5B-5E5E70125BAE}"/>
              </a:ext>
            </a:extLst>
          </p:cNvPr>
          <p:cNvSpPr txBox="1">
            <a:spLocks/>
          </p:cNvSpPr>
          <p:nvPr/>
        </p:nvSpPr>
        <p:spPr>
          <a:xfrm>
            <a:off x="687388" y="2877924"/>
            <a:ext cx="442479" cy="272758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337878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85%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337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Rechteck 10">
            <a:extLst>
              <a:ext uri="{FF2B5EF4-FFF2-40B4-BE49-F238E27FC236}">
                <a16:creationId xmlns:a16="http://schemas.microsoft.com/office/drawing/2014/main" id="{9921DAB1-D636-E45A-CC42-1C677F502D64}"/>
              </a:ext>
            </a:extLst>
          </p:cNvPr>
          <p:cNvSpPr/>
          <p:nvPr/>
        </p:nvSpPr>
        <p:spPr>
          <a:xfrm>
            <a:off x="4788533" y="2652171"/>
            <a:ext cx="1185878" cy="10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defTabSz="514213"/>
            <a:r>
              <a:rPr lang="en-GB" sz="1400" b="1" dirty="0">
                <a:solidFill>
                  <a:schemeClr val="accent2"/>
                </a:solidFill>
              </a:rPr>
              <a:t>2023</a:t>
            </a:r>
          </a:p>
        </p:txBody>
      </p:sp>
      <p:graphicFrame>
        <p:nvGraphicFramePr>
          <p:cNvPr id="48" name="Diagramm 294">
            <a:extLst>
              <a:ext uri="{FF2B5EF4-FFF2-40B4-BE49-F238E27FC236}">
                <a16:creationId xmlns:a16="http://schemas.microsoft.com/office/drawing/2014/main" id="{EBD99E69-711A-CB74-1CA6-FD4641059DAA}"/>
              </a:ext>
            </a:extLst>
          </p:cNvPr>
          <p:cNvGraphicFramePr/>
          <p:nvPr/>
        </p:nvGraphicFramePr>
        <p:xfrm>
          <a:off x="5111472" y="3049847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9BBD6917-E6B7-EAEA-BE5F-350619C371C8}"/>
              </a:ext>
            </a:extLst>
          </p:cNvPr>
          <p:cNvSpPr txBox="1">
            <a:spLocks/>
          </p:cNvSpPr>
          <p:nvPr/>
        </p:nvSpPr>
        <p:spPr>
          <a:xfrm>
            <a:off x="5568282" y="3481994"/>
            <a:ext cx="406129" cy="200055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300" dirty="0">
                <a:solidFill>
                  <a:schemeClr val="accent6"/>
                </a:solidFill>
                <a:ea typeface="Calibri" panose="020F0502020204030204" pitchFamily="34" charset="0"/>
              </a:rPr>
              <a:t>16%</a:t>
            </a:r>
            <a:endParaRPr lang="en-GB" sz="1300" dirty="0">
              <a:solidFill>
                <a:schemeClr val="accent6"/>
              </a:solidFill>
            </a:endParaRP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20B73EE3-0715-8055-3395-7D581104FCCA}"/>
              </a:ext>
            </a:extLst>
          </p:cNvPr>
          <p:cNvSpPr txBox="1">
            <a:spLocks/>
          </p:cNvSpPr>
          <p:nvPr/>
        </p:nvSpPr>
        <p:spPr>
          <a:xfrm>
            <a:off x="4788533" y="2877924"/>
            <a:ext cx="442479" cy="272758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337878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84%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337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hteck 10">
            <a:extLst>
              <a:ext uri="{FF2B5EF4-FFF2-40B4-BE49-F238E27FC236}">
                <a16:creationId xmlns:a16="http://schemas.microsoft.com/office/drawing/2014/main" id="{5ABF6875-BFF1-9D4E-12EA-A00ECCAD6579}"/>
              </a:ext>
            </a:extLst>
          </p:cNvPr>
          <p:cNvSpPr/>
          <p:nvPr/>
        </p:nvSpPr>
        <p:spPr>
          <a:xfrm>
            <a:off x="4788533" y="3784026"/>
            <a:ext cx="1185878" cy="80060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rtlCol="0" anchor="t"/>
          <a:lstStyle/>
          <a:p>
            <a:r>
              <a:rPr lang="en-GB" sz="1200" dirty="0">
                <a:solidFill>
                  <a:schemeClr val="accent2"/>
                </a:solidFill>
              </a:rPr>
              <a:t>2021</a:t>
            </a:r>
          </a:p>
        </p:txBody>
      </p:sp>
      <p:graphicFrame>
        <p:nvGraphicFramePr>
          <p:cNvPr id="52" name="Diagramm 294">
            <a:extLst>
              <a:ext uri="{FF2B5EF4-FFF2-40B4-BE49-F238E27FC236}">
                <a16:creationId xmlns:a16="http://schemas.microsoft.com/office/drawing/2014/main" id="{F7F07ED3-5630-AA7E-FB02-23B3E77491FB}"/>
              </a:ext>
            </a:extLst>
          </p:cNvPr>
          <p:cNvGraphicFramePr/>
          <p:nvPr/>
        </p:nvGraphicFramePr>
        <p:xfrm>
          <a:off x="5158314" y="4126165"/>
          <a:ext cx="396000" cy="3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3" name="Textplatzhalter 2">
            <a:extLst>
              <a:ext uri="{FF2B5EF4-FFF2-40B4-BE49-F238E27FC236}">
                <a16:creationId xmlns:a16="http://schemas.microsoft.com/office/drawing/2014/main" id="{4FB3F923-7BD1-27C4-3BFA-0522A6A65E0F}"/>
              </a:ext>
            </a:extLst>
          </p:cNvPr>
          <p:cNvSpPr txBox="1">
            <a:spLocks/>
          </p:cNvSpPr>
          <p:nvPr/>
        </p:nvSpPr>
        <p:spPr>
          <a:xfrm>
            <a:off x="5545594" y="4378281"/>
            <a:ext cx="421590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200" spc="-20" dirty="0">
                <a:solidFill>
                  <a:schemeClr val="accent6"/>
                </a:solidFill>
                <a:ea typeface="Calibri" panose="020F0502020204030204" pitchFamily="34" charset="0"/>
              </a:rPr>
              <a:t>20.4%</a:t>
            </a:r>
          </a:p>
        </p:txBody>
      </p:sp>
      <p:sp>
        <p:nvSpPr>
          <p:cNvPr id="54" name="Textplatzhalter 2">
            <a:extLst>
              <a:ext uri="{FF2B5EF4-FFF2-40B4-BE49-F238E27FC236}">
                <a16:creationId xmlns:a16="http://schemas.microsoft.com/office/drawing/2014/main" id="{74AF66C2-5412-9AD1-ABEC-A6037FD6B599}"/>
              </a:ext>
            </a:extLst>
          </p:cNvPr>
          <p:cNvSpPr txBox="1">
            <a:spLocks/>
          </p:cNvSpPr>
          <p:nvPr/>
        </p:nvSpPr>
        <p:spPr>
          <a:xfrm>
            <a:off x="4788533" y="3948100"/>
            <a:ext cx="543469" cy="257369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rgbClr val="D4DB1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79.4%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D4DB1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Rechteck 10">
            <a:extLst>
              <a:ext uri="{FF2B5EF4-FFF2-40B4-BE49-F238E27FC236}">
                <a16:creationId xmlns:a16="http://schemas.microsoft.com/office/drawing/2014/main" id="{041CB26A-E48A-BB99-DEB9-922CEF993E7A}"/>
              </a:ext>
            </a:extLst>
          </p:cNvPr>
          <p:cNvSpPr/>
          <p:nvPr/>
        </p:nvSpPr>
        <p:spPr>
          <a:xfrm>
            <a:off x="3514295" y="3784026"/>
            <a:ext cx="1185878" cy="80060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rtlCol="0" anchor="t"/>
          <a:lstStyle/>
          <a:p>
            <a:r>
              <a:rPr lang="en-GB" sz="1200" dirty="0">
                <a:solidFill>
                  <a:schemeClr val="accent2"/>
                </a:solidFill>
              </a:rPr>
              <a:t>2022</a:t>
            </a:r>
          </a:p>
        </p:txBody>
      </p:sp>
      <p:graphicFrame>
        <p:nvGraphicFramePr>
          <p:cNvPr id="56" name="Diagramm 294">
            <a:extLst>
              <a:ext uri="{FF2B5EF4-FFF2-40B4-BE49-F238E27FC236}">
                <a16:creationId xmlns:a16="http://schemas.microsoft.com/office/drawing/2014/main" id="{4EDC61E2-3894-FCE6-DB6E-51536CC0B653}"/>
              </a:ext>
            </a:extLst>
          </p:cNvPr>
          <p:cNvGraphicFramePr/>
          <p:nvPr/>
        </p:nvGraphicFramePr>
        <p:xfrm>
          <a:off x="3894918" y="4126165"/>
          <a:ext cx="396000" cy="3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7" name="Textplatzhalter 2">
            <a:extLst>
              <a:ext uri="{FF2B5EF4-FFF2-40B4-BE49-F238E27FC236}">
                <a16:creationId xmlns:a16="http://schemas.microsoft.com/office/drawing/2014/main" id="{B74A757D-0EC3-5908-10ED-4CE97AC6698E}"/>
              </a:ext>
            </a:extLst>
          </p:cNvPr>
          <p:cNvSpPr txBox="1">
            <a:spLocks/>
          </p:cNvSpPr>
          <p:nvPr/>
        </p:nvSpPr>
        <p:spPr>
          <a:xfrm>
            <a:off x="4292486" y="4378281"/>
            <a:ext cx="378877" cy="184666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200" dirty="0">
                <a:solidFill>
                  <a:schemeClr val="accent6"/>
                </a:solidFill>
                <a:ea typeface="Calibri" panose="020F0502020204030204" pitchFamily="34" charset="0"/>
              </a:rPr>
              <a:t>23%</a:t>
            </a:r>
            <a:endParaRPr lang="en-GB" sz="1000" dirty="0">
              <a:solidFill>
                <a:schemeClr val="accent6"/>
              </a:solidFill>
            </a:endParaRPr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F5D0199C-8C34-893D-CC29-CD303010D93D}"/>
              </a:ext>
            </a:extLst>
          </p:cNvPr>
          <p:cNvSpPr txBox="1">
            <a:spLocks/>
          </p:cNvSpPr>
          <p:nvPr/>
        </p:nvSpPr>
        <p:spPr>
          <a:xfrm>
            <a:off x="3514295" y="3948100"/>
            <a:ext cx="415229" cy="257369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rgbClr val="D4DB1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77%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D4DB1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Rechteck 10">
            <a:extLst>
              <a:ext uri="{FF2B5EF4-FFF2-40B4-BE49-F238E27FC236}">
                <a16:creationId xmlns:a16="http://schemas.microsoft.com/office/drawing/2014/main" id="{A8725A06-8487-58C7-9B0D-310F72400A45}"/>
              </a:ext>
            </a:extLst>
          </p:cNvPr>
          <p:cNvSpPr/>
          <p:nvPr/>
        </p:nvSpPr>
        <p:spPr>
          <a:xfrm>
            <a:off x="3514295" y="2652171"/>
            <a:ext cx="1185878" cy="10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defTabSz="514213"/>
            <a:r>
              <a:rPr lang="en-GB" sz="1400" b="1" dirty="0">
                <a:solidFill>
                  <a:schemeClr val="tx1"/>
                </a:solidFill>
              </a:rPr>
              <a:t>2024</a:t>
            </a:r>
          </a:p>
        </p:txBody>
      </p:sp>
      <p:graphicFrame>
        <p:nvGraphicFramePr>
          <p:cNvPr id="60" name="Diagramm 294">
            <a:extLst>
              <a:ext uri="{FF2B5EF4-FFF2-40B4-BE49-F238E27FC236}">
                <a16:creationId xmlns:a16="http://schemas.microsoft.com/office/drawing/2014/main" id="{2182068B-E38B-97EA-404C-0ADE9F510247}"/>
              </a:ext>
            </a:extLst>
          </p:cNvPr>
          <p:cNvGraphicFramePr/>
          <p:nvPr/>
        </p:nvGraphicFramePr>
        <p:xfrm>
          <a:off x="3837234" y="3049847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1" name="Textplatzhalter 2">
            <a:extLst>
              <a:ext uri="{FF2B5EF4-FFF2-40B4-BE49-F238E27FC236}">
                <a16:creationId xmlns:a16="http://schemas.microsoft.com/office/drawing/2014/main" id="{C9702AB0-5FF6-129E-BEC7-2313CA714388}"/>
              </a:ext>
            </a:extLst>
          </p:cNvPr>
          <p:cNvSpPr txBox="1">
            <a:spLocks/>
          </p:cNvSpPr>
          <p:nvPr/>
        </p:nvSpPr>
        <p:spPr>
          <a:xfrm>
            <a:off x="4294044" y="3481994"/>
            <a:ext cx="406129" cy="200055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300" dirty="0">
                <a:solidFill>
                  <a:schemeClr val="accent6"/>
                </a:solidFill>
                <a:ea typeface="Calibri" panose="020F0502020204030204" pitchFamily="34" charset="0"/>
              </a:rPr>
              <a:t>13%</a:t>
            </a:r>
            <a:endParaRPr lang="en-GB" sz="1300" dirty="0">
              <a:solidFill>
                <a:schemeClr val="accent6"/>
              </a:solidFill>
            </a:endParaRPr>
          </a:p>
        </p:txBody>
      </p:sp>
      <p:sp>
        <p:nvSpPr>
          <p:cNvPr id="62" name="Textplatzhalter 2">
            <a:extLst>
              <a:ext uri="{FF2B5EF4-FFF2-40B4-BE49-F238E27FC236}">
                <a16:creationId xmlns:a16="http://schemas.microsoft.com/office/drawing/2014/main" id="{06603964-7DE2-9841-B2C4-1EF74C7D1C36}"/>
              </a:ext>
            </a:extLst>
          </p:cNvPr>
          <p:cNvSpPr txBox="1">
            <a:spLocks/>
          </p:cNvSpPr>
          <p:nvPr/>
        </p:nvSpPr>
        <p:spPr>
          <a:xfrm>
            <a:off x="3514295" y="2877924"/>
            <a:ext cx="442479" cy="272758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337878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87%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337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Rechteck 10">
            <a:extLst>
              <a:ext uri="{FF2B5EF4-FFF2-40B4-BE49-F238E27FC236}">
                <a16:creationId xmlns:a16="http://schemas.microsoft.com/office/drawing/2014/main" id="{65EF0093-31CE-D455-DB98-C6F35074BC45}"/>
              </a:ext>
            </a:extLst>
          </p:cNvPr>
          <p:cNvSpPr/>
          <p:nvPr/>
        </p:nvSpPr>
        <p:spPr>
          <a:xfrm>
            <a:off x="7615222" y="2652171"/>
            <a:ext cx="1185878" cy="10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defTabSz="514213"/>
            <a:r>
              <a:rPr lang="en-GB" sz="1400" b="1" dirty="0">
                <a:solidFill>
                  <a:schemeClr val="accent2"/>
                </a:solidFill>
              </a:rPr>
              <a:t>2023</a:t>
            </a:r>
          </a:p>
        </p:txBody>
      </p:sp>
      <p:graphicFrame>
        <p:nvGraphicFramePr>
          <p:cNvPr id="65" name="Diagramm 294">
            <a:extLst>
              <a:ext uri="{FF2B5EF4-FFF2-40B4-BE49-F238E27FC236}">
                <a16:creationId xmlns:a16="http://schemas.microsoft.com/office/drawing/2014/main" id="{526D0815-B635-3234-E41B-8B15F1A25B46}"/>
              </a:ext>
            </a:extLst>
          </p:cNvPr>
          <p:cNvGraphicFramePr/>
          <p:nvPr/>
        </p:nvGraphicFramePr>
        <p:xfrm>
          <a:off x="7938161" y="3049847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6" name="Textplatzhalter 2">
            <a:extLst>
              <a:ext uri="{FF2B5EF4-FFF2-40B4-BE49-F238E27FC236}">
                <a16:creationId xmlns:a16="http://schemas.microsoft.com/office/drawing/2014/main" id="{B54ED524-BA57-CD73-3EED-16064533442F}"/>
              </a:ext>
            </a:extLst>
          </p:cNvPr>
          <p:cNvSpPr txBox="1">
            <a:spLocks/>
          </p:cNvSpPr>
          <p:nvPr/>
        </p:nvSpPr>
        <p:spPr>
          <a:xfrm>
            <a:off x="8394971" y="3481994"/>
            <a:ext cx="406129" cy="200055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300" dirty="0">
                <a:solidFill>
                  <a:schemeClr val="accent6"/>
                </a:solidFill>
                <a:ea typeface="Calibri" panose="020F0502020204030204" pitchFamily="34" charset="0"/>
              </a:rPr>
              <a:t>34%</a:t>
            </a:r>
            <a:endParaRPr lang="en-GB" sz="1300" dirty="0">
              <a:solidFill>
                <a:schemeClr val="accent6"/>
              </a:solidFill>
            </a:endParaRPr>
          </a:p>
        </p:txBody>
      </p: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AF931C79-8306-503B-8852-8916014D1D77}"/>
              </a:ext>
            </a:extLst>
          </p:cNvPr>
          <p:cNvSpPr txBox="1">
            <a:spLocks/>
          </p:cNvSpPr>
          <p:nvPr/>
        </p:nvSpPr>
        <p:spPr>
          <a:xfrm>
            <a:off x="7615222" y="2877924"/>
            <a:ext cx="442479" cy="272758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337878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66%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337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Rechteck 10">
            <a:extLst>
              <a:ext uri="{FF2B5EF4-FFF2-40B4-BE49-F238E27FC236}">
                <a16:creationId xmlns:a16="http://schemas.microsoft.com/office/drawing/2014/main" id="{E7872B59-9364-F3C6-00BB-7F16B409461F}"/>
              </a:ext>
            </a:extLst>
          </p:cNvPr>
          <p:cNvSpPr/>
          <p:nvPr/>
        </p:nvSpPr>
        <p:spPr>
          <a:xfrm>
            <a:off x="7615222" y="3784026"/>
            <a:ext cx="1185878" cy="80060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rtlCol="0" anchor="t"/>
          <a:lstStyle/>
          <a:p>
            <a:r>
              <a:rPr lang="en-GB" sz="1200" dirty="0">
                <a:solidFill>
                  <a:schemeClr val="accent2"/>
                </a:solidFill>
              </a:rPr>
              <a:t>2021</a:t>
            </a:r>
          </a:p>
        </p:txBody>
      </p:sp>
      <p:graphicFrame>
        <p:nvGraphicFramePr>
          <p:cNvPr id="69" name="Diagramm 294">
            <a:extLst>
              <a:ext uri="{FF2B5EF4-FFF2-40B4-BE49-F238E27FC236}">
                <a16:creationId xmlns:a16="http://schemas.microsoft.com/office/drawing/2014/main" id="{6C5B363F-C25C-29F9-5A48-5D5063BD70DA}"/>
              </a:ext>
            </a:extLst>
          </p:cNvPr>
          <p:cNvGraphicFramePr/>
          <p:nvPr/>
        </p:nvGraphicFramePr>
        <p:xfrm>
          <a:off x="7985003" y="4126165"/>
          <a:ext cx="396000" cy="3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F6C83775-7000-2D1D-BA2A-EB6D55521490}"/>
              </a:ext>
            </a:extLst>
          </p:cNvPr>
          <p:cNvSpPr txBox="1">
            <a:spLocks/>
          </p:cNvSpPr>
          <p:nvPr/>
        </p:nvSpPr>
        <p:spPr>
          <a:xfrm>
            <a:off x="8368668" y="4378281"/>
            <a:ext cx="421590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indent="0" algn="r" defTabSz="914126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tabLst/>
              <a:defRPr sz="1200" spc="-20" baseline="0">
                <a:solidFill>
                  <a:schemeClr val="accent6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defRPr>
            </a:lvl1pPr>
            <a:lvl2pPr marL="288000" indent="-144000" defTabSz="914126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2pPr>
            <a:lvl3pPr marL="432000" indent="-144000" defTabSz="914126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3pPr>
            <a:lvl4pPr marL="576000" indent="-144000" defTabSz="914126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4pPr>
            <a:lvl5pPr marL="720000" indent="-144000" defTabSz="987128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5pPr>
            <a:lvl6pPr marL="2513846" indent="-228532" defTabSz="914126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908" indent="-228532" defTabSz="914126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972" indent="-228532" defTabSz="914126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034" indent="-228532" defTabSz="914126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dirty="0"/>
              <a:t>38.5%</a:t>
            </a:r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FDF210B4-4C66-8F54-9170-F9E4218F7575}"/>
              </a:ext>
            </a:extLst>
          </p:cNvPr>
          <p:cNvSpPr txBox="1">
            <a:spLocks/>
          </p:cNvSpPr>
          <p:nvPr/>
        </p:nvSpPr>
        <p:spPr>
          <a:xfrm>
            <a:off x="7615222" y="3948100"/>
            <a:ext cx="543469" cy="257369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rgbClr val="D4DB1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61.4%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D4DB1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echteck 10">
            <a:extLst>
              <a:ext uri="{FF2B5EF4-FFF2-40B4-BE49-F238E27FC236}">
                <a16:creationId xmlns:a16="http://schemas.microsoft.com/office/drawing/2014/main" id="{C3B10277-66B6-D03E-414A-8BE902D8EE61}"/>
              </a:ext>
            </a:extLst>
          </p:cNvPr>
          <p:cNvSpPr/>
          <p:nvPr/>
        </p:nvSpPr>
        <p:spPr>
          <a:xfrm>
            <a:off x="6340984" y="3784026"/>
            <a:ext cx="1185878" cy="800605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rtlCol="0" anchor="t"/>
          <a:lstStyle/>
          <a:p>
            <a:r>
              <a:rPr lang="en-GB" sz="1200" dirty="0">
                <a:solidFill>
                  <a:schemeClr val="accent2"/>
                </a:solidFill>
              </a:rPr>
              <a:t>2022</a:t>
            </a:r>
          </a:p>
        </p:txBody>
      </p:sp>
      <p:graphicFrame>
        <p:nvGraphicFramePr>
          <p:cNvPr id="73" name="Diagramm 294">
            <a:extLst>
              <a:ext uri="{FF2B5EF4-FFF2-40B4-BE49-F238E27FC236}">
                <a16:creationId xmlns:a16="http://schemas.microsoft.com/office/drawing/2014/main" id="{DA2A08F1-A730-C364-00A3-3FC32070EDC6}"/>
              </a:ext>
            </a:extLst>
          </p:cNvPr>
          <p:cNvGraphicFramePr/>
          <p:nvPr/>
        </p:nvGraphicFramePr>
        <p:xfrm>
          <a:off x="6721607" y="4126165"/>
          <a:ext cx="396000" cy="3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4" name="Textplatzhalter 2">
            <a:extLst>
              <a:ext uri="{FF2B5EF4-FFF2-40B4-BE49-F238E27FC236}">
                <a16:creationId xmlns:a16="http://schemas.microsoft.com/office/drawing/2014/main" id="{55FD6FA7-AE86-FBA5-0F26-6BFA043AD066}"/>
              </a:ext>
            </a:extLst>
          </p:cNvPr>
          <p:cNvSpPr txBox="1">
            <a:spLocks/>
          </p:cNvSpPr>
          <p:nvPr/>
        </p:nvSpPr>
        <p:spPr>
          <a:xfrm>
            <a:off x="7119175" y="4378281"/>
            <a:ext cx="378877" cy="184666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200" dirty="0">
                <a:solidFill>
                  <a:schemeClr val="accent6"/>
                </a:solidFill>
                <a:ea typeface="Calibri" panose="020F0502020204030204" pitchFamily="34" charset="0"/>
              </a:rPr>
              <a:t>31%</a:t>
            </a:r>
            <a:endParaRPr lang="en-GB" sz="1000" dirty="0">
              <a:solidFill>
                <a:schemeClr val="accent6"/>
              </a:solidFill>
            </a:endParaRP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266B2A4D-5A34-D046-9FF2-45F1B4766968}"/>
              </a:ext>
            </a:extLst>
          </p:cNvPr>
          <p:cNvSpPr txBox="1">
            <a:spLocks/>
          </p:cNvSpPr>
          <p:nvPr/>
        </p:nvSpPr>
        <p:spPr>
          <a:xfrm>
            <a:off x="6340984" y="3948100"/>
            <a:ext cx="415229" cy="257369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solidFill>
                  <a:srgbClr val="D4DB12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69%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D4DB1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Rechteck 10">
            <a:extLst>
              <a:ext uri="{FF2B5EF4-FFF2-40B4-BE49-F238E27FC236}">
                <a16:creationId xmlns:a16="http://schemas.microsoft.com/office/drawing/2014/main" id="{6B1C6F01-A4F1-9C2B-BDDC-4249F0E7015A}"/>
              </a:ext>
            </a:extLst>
          </p:cNvPr>
          <p:cNvSpPr/>
          <p:nvPr/>
        </p:nvSpPr>
        <p:spPr>
          <a:xfrm>
            <a:off x="6340984" y="2652171"/>
            <a:ext cx="1185878" cy="10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defTabSz="514213"/>
            <a:r>
              <a:rPr lang="en-GB" sz="1400" b="1" dirty="0">
                <a:solidFill>
                  <a:schemeClr val="tx1"/>
                </a:solidFill>
              </a:rPr>
              <a:t>2024</a:t>
            </a:r>
          </a:p>
        </p:txBody>
      </p:sp>
      <p:graphicFrame>
        <p:nvGraphicFramePr>
          <p:cNvPr id="78" name="Diagramm 294">
            <a:extLst>
              <a:ext uri="{FF2B5EF4-FFF2-40B4-BE49-F238E27FC236}">
                <a16:creationId xmlns:a16="http://schemas.microsoft.com/office/drawing/2014/main" id="{573EA0CD-3F54-3CC0-F96F-50B3854B0474}"/>
              </a:ext>
            </a:extLst>
          </p:cNvPr>
          <p:cNvGraphicFramePr/>
          <p:nvPr/>
        </p:nvGraphicFramePr>
        <p:xfrm>
          <a:off x="6663923" y="3049847"/>
          <a:ext cx="540000" cy="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79" name="Textplatzhalter 2">
            <a:extLst>
              <a:ext uri="{FF2B5EF4-FFF2-40B4-BE49-F238E27FC236}">
                <a16:creationId xmlns:a16="http://schemas.microsoft.com/office/drawing/2014/main" id="{D17BA22C-7FD6-92A4-75A5-796838DEFFAB}"/>
              </a:ext>
            </a:extLst>
          </p:cNvPr>
          <p:cNvSpPr txBox="1">
            <a:spLocks/>
          </p:cNvSpPr>
          <p:nvPr/>
        </p:nvSpPr>
        <p:spPr>
          <a:xfrm>
            <a:off x="7120733" y="3481994"/>
            <a:ext cx="406129" cy="200055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300" dirty="0">
                <a:solidFill>
                  <a:schemeClr val="accent6"/>
                </a:solidFill>
                <a:ea typeface="Calibri" panose="020F0502020204030204" pitchFamily="34" charset="0"/>
              </a:rPr>
              <a:t>30%</a:t>
            </a:r>
            <a:endParaRPr lang="en-GB" sz="1300" dirty="0">
              <a:solidFill>
                <a:schemeClr val="accent6"/>
              </a:solidFill>
            </a:endParaRPr>
          </a:p>
        </p:txBody>
      </p:sp>
      <p:sp>
        <p:nvSpPr>
          <p:cNvPr id="80" name="Textplatzhalter 2">
            <a:extLst>
              <a:ext uri="{FF2B5EF4-FFF2-40B4-BE49-F238E27FC236}">
                <a16:creationId xmlns:a16="http://schemas.microsoft.com/office/drawing/2014/main" id="{EC6B7FAF-4205-1636-03AB-3E698F2A8B6A}"/>
              </a:ext>
            </a:extLst>
          </p:cNvPr>
          <p:cNvSpPr txBox="1">
            <a:spLocks/>
          </p:cNvSpPr>
          <p:nvPr/>
        </p:nvSpPr>
        <p:spPr>
          <a:xfrm>
            <a:off x="6340984" y="2877924"/>
            <a:ext cx="442479" cy="272758"/>
          </a:xfrm>
          <a:prstGeom prst="rect">
            <a:avLst/>
          </a:prstGeom>
        </p:spPr>
        <p:txBody>
          <a:bodyPr vert="horz" wrap="none" lIns="72000" tIns="36000" rIns="36000" bIns="3600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srgbClr val="337878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70%</a:t>
            </a: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33787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B0933FC9-25DC-F5CD-BFD6-4E960DE68492}"/>
              </a:ext>
            </a:extLst>
          </p:cNvPr>
          <p:cNvSpPr txBox="1">
            <a:spLocks/>
          </p:cNvSpPr>
          <p:nvPr/>
        </p:nvSpPr>
        <p:spPr>
          <a:xfrm>
            <a:off x="1999950" y="4378281"/>
            <a:ext cx="422158" cy="184666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200" dirty="0">
                <a:solidFill>
                  <a:schemeClr val="bg2">
                    <a:lumMod val="50000"/>
                  </a:schemeClr>
                </a:solidFill>
                <a:ea typeface="Calibri" panose="020F0502020204030204" pitchFamily="34" charset="0"/>
              </a:rPr>
              <a:t>0.2%</a:t>
            </a:r>
            <a:endParaRPr lang="en-GB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AB37E28-1A76-69D2-FD1B-1D1FC68D9AD5}"/>
              </a:ext>
            </a:extLst>
          </p:cNvPr>
          <p:cNvSpPr txBox="1">
            <a:spLocks/>
          </p:cNvSpPr>
          <p:nvPr/>
        </p:nvSpPr>
        <p:spPr>
          <a:xfrm>
            <a:off x="7661315" y="4347264"/>
            <a:ext cx="422158" cy="184666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200" dirty="0">
                <a:solidFill>
                  <a:schemeClr val="bg2">
                    <a:lumMod val="50000"/>
                  </a:schemeClr>
                </a:solidFill>
                <a:ea typeface="Calibri" panose="020F0502020204030204" pitchFamily="34" charset="0"/>
              </a:rPr>
              <a:t>0.1%</a:t>
            </a:r>
            <a:endParaRPr lang="en-GB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2FBF7792-B885-1549-BE8C-A6995244F50F}"/>
              </a:ext>
            </a:extLst>
          </p:cNvPr>
          <p:cNvSpPr txBox="1">
            <a:spLocks/>
          </p:cNvSpPr>
          <p:nvPr/>
        </p:nvSpPr>
        <p:spPr>
          <a:xfrm>
            <a:off x="4791741" y="4355812"/>
            <a:ext cx="422158" cy="184666"/>
          </a:xfrm>
          <a:prstGeom prst="rect">
            <a:avLst/>
          </a:prstGeom>
        </p:spPr>
        <p:txBody>
          <a:bodyPr vert="horz" wrap="none" lIns="0" tIns="0" rIns="72000" bIns="0" rtlCol="0" anchor="ctr">
            <a:spAutoFit/>
          </a:bodyPr>
          <a:lstStyle>
            <a:lvl1pPr marL="144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8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76000" indent="-144000" algn="l" defTabSz="914126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indent="-144000" algn="l" defTabSz="987128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sz="1400" kern="1200" spc="0" baseline="0">
                <a:solidFill>
                  <a:srgbClr val="404955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846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buFont typeface="Wingdings" pitchFamily="2" charset="2"/>
              <a:buNone/>
            </a:pPr>
            <a:r>
              <a:rPr lang="en-GB" sz="1200" dirty="0">
                <a:solidFill>
                  <a:schemeClr val="bg2">
                    <a:lumMod val="50000"/>
                  </a:schemeClr>
                </a:solidFill>
                <a:ea typeface="Calibri" panose="020F0502020204030204" pitchFamily="34" charset="0"/>
              </a:rPr>
              <a:t>0.2%</a:t>
            </a:r>
            <a:endParaRPr lang="en-GB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" name="Rechteck 11">
            <a:extLst>
              <a:ext uri="{FF2B5EF4-FFF2-40B4-BE49-F238E27FC236}">
                <a16:creationId xmlns:a16="http://schemas.microsoft.com/office/drawing/2014/main" id="{94BC47E7-D61B-BF32-3DC9-4976FA6FE12E}"/>
              </a:ext>
            </a:extLst>
          </p:cNvPr>
          <p:cNvSpPr/>
          <p:nvPr/>
        </p:nvSpPr>
        <p:spPr>
          <a:xfrm>
            <a:off x="877699" y="4651797"/>
            <a:ext cx="108000" cy="108000"/>
          </a:xfrm>
          <a:prstGeom prst="rect">
            <a:avLst/>
          </a:prstGeom>
          <a:solidFill>
            <a:srgbClr val="D4DB1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379404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D214DEE-98B1-2AC4-495A-CC13E39C7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025 enrolments for each paper</a:t>
            </a:r>
          </a:p>
        </p:txBody>
      </p:sp>
      <p:sp>
        <p:nvSpPr>
          <p:cNvPr id="333" name="Slide Number"/>
          <p:cNvSpPr txBox="1">
            <a:spLocks noGrp="1"/>
          </p:cNvSpPr>
          <p:nvPr>
            <p:ph type="sldNum" sz="quarter" idx="12"/>
          </p:nvPr>
        </p:nvSpPr>
        <p:spPr/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457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914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371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8288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7432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32004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365760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404955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de-DE" smtClean="0"/>
              <a:pPr/>
              <a:t>6</a:t>
            </a:fld>
            <a:endParaRPr lang="de-DE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FCF533B-5672-E94C-7943-6A5BFD13B4FF}"/>
              </a:ext>
            </a:extLst>
          </p:cNvPr>
          <p:cNvGraphicFramePr>
            <a:graphicFrameLocks noGrp="1"/>
          </p:cNvGraphicFramePr>
          <p:nvPr/>
        </p:nvGraphicFramePr>
        <p:xfrm>
          <a:off x="2996599" y="1679273"/>
          <a:ext cx="3048000" cy="235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2216862906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816136429"/>
                    </a:ext>
                  </a:extLst>
                </a:gridCol>
              </a:tblGrid>
              <a:tr h="394019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NUMBER OF CANDIDA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1158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6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3785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7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220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8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057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99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4413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9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6026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14932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2057"/>
</p:tagLst>
</file>

<file path=ppt/theme/theme1.xml><?xml version="1.0" encoding="utf-8"?>
<a:theme xmlns:a="http://schemas.openxmlformats.org/drawingml/2006/main" name="Office">
  <a:themeElements>
    <a:clrScheme name="EPO">
      <a:dk1>
        <a:srgbClr val="404955"/>
      </a:dk1>
      <a:lt1>
        <a:srgbClr val="FFFFFF"/>
      </a:lt1>
      <a:dk2>
        <a:srgbClr val="404955"/>
      </a:dk2>
      <a:lt2>
        <a:srgbClr val="FFFFFF"/>
      </a:lt2>
      <a:accent1>
        <a:srgbClr val="666D77"/>
      </a:accent1>
      <a:accent2>
        <a:srgbClr val="8C9299"/>
      </a:accent2>
      <a:accent3>
        <a:srgbClr val="9FA4AA"/>
      </a:accent3>
      <a:accent4>
        <a:srgbClr val="B3B6BB"/>
      </a:accent4>
      <a:accent5>
        <a:srgbClr val="D9DBDD"/>
      </a:accent5>
      <a:accent6>
        <a:srgbClr val="D93317"/>
      </a:accent6>
      <a:hlink>
        <a:srgbClr val="0000FF"/>
      </a:hlink>
      <a:folHlink>
        <a:srgbClr val="954F72"/>
      </a:folHlink>
    </a:clrScheme>
    <a:fontScheme name="E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light green">
      <a:srgbClr val="30CCBF"/>
    </a:custClr>
    <a:custClr name="yellow">
      <a:srgbClr val="D4DB12"/>
    </a:custClr>
    <a:custClr name="dark green">
      <a:srgbClr val="337878"/>
    </a:custClr>
    <a:custClr name="blue">
      <a:srgbClr val="0262CA"/>
    </a:custClr>
    <a:custClr name="orange">
      <a:srgbClr val="FF8200"/>
    </a:custClr>
  </a:custClrLst>
  <a:extLst>
    <a:ext uri="{05A4C25C-085E-4340-85A3-A5531E510DB2}">
      <thm15:themeFamily xmlns:thm15="http://schemas.microsoft.com/office/thememl/2012/main" name="EPO Standard Template.pptx" id="{275A0C14-EF4F-4310-8B10-86ED651C7683}" vid="{0F6AFCC3-50DC-4FB8-947F-F88F7793B9C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EPO colour palette">
    <a:dk1>
      <a:srgbClr val="404955"/>
    </a:dk1>
    <a:lt1>
      <a:srgbClr val="FFFFFF"/>
    </a:lt1>
    <a:dk2>
      <a:srgbClr val="C1CCD5"/>
    </a:dk2>
    <a:lt2>
      <a:srgbClr val="D0D19F"/>
    </a:lt2>
    <a:accent1>
      <a:srgbClr val="3B464D"/>
    </a:accent1>
    <a:accent2>
      <a:srgbClr val="BE0F05"/>
    </a:accent2>
    <a:accent3>
      <a:srgbClr val="5F7B8F"/>
    </a:accent3>
    <a:accent4>
      <a:srgbClr val="9FA04E"/>
    </a:accent4>
    <a:accent5>
      <a:srgbClr val="94A4AE"/>
    </a:accent5>
    <a:accent6>
      <a:srgbClr val="DEBBB0"/>
    </a:accent6>
    <a:hlink>
      <a:srgbClr val="0000FF"/>
    </a:hlink>
    <a:folHlink>
      <a:srgbClr val="800080"/>
    </a:folHlink>
  </a:clrScheme>
  <a:fontScheme name="EPO Font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890A60A1D32F44B4FE7BD0809DC8E4" ma:contentTypeVersion="4" ma:contentTypeDescription="Create a new document." ma:contentTypeScope="" ma:versionID="b8d2a9ef4be5427681fa122e9098dffd">
  <xsd:schema xmlns:xsd="http://www.w3.org/2001/XMLSchema" xmlns:xs="http://www.w3.org/2001/XMLSchema" xmlns:p="http://schemas.microsoft.com/office/2006/metadata/properties" xmlns:ns2="6bfe02e2-e012-49cf-a327-12474b1b68e8" targetNamespace="http://schemas.microsoft.com/office/2006/metadata/properties" ma:root="true" ma:fieldsID="407f58ba6e3aab2655d684de81222ce7" ns2:_="">
    <xsd:import namespace="6bfe02e2-e012-49cf-a327-12474b1b68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fe02e2-e012-49cf-a327-12474b1b68e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70EE7EF-46AB-4DAC-A12D-3ADE3A614C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fe02e2-e012-49cf-a327-12474b1b68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49FA73B-8A34-4679-82F3-CE0F08631DF1}">
  <ds:schemaRefs>
    <ds:schemaRef ds:uri="http://schemas.microsoft.com/office/2006/metadata/properties"/>
    <ds:schemaRef ds:uri="http://schemas.microsoft.com/office/infopath/2007/PartnerControls"/>
    <ds:schemaRef ds:uri="c3d35397-2368-4640-bf82-009dc17c0c43"/>
    <ds:schemaRef ds:uri="5d429d00-054d-485d-befb-4d01d608e663"/>
  </ds:schemaRefs>
</ds:datastoreItem>
</file>

<file path=customXml/itemProps3.xml><?xml version="1.0" encoding="utf-8"?>
<ds:datastoreItem xmlns:ds="http://schemas.openxmlformats.org/officeDocument/2006/customXml" ds:itemID="{19E40488-B65F-4303-B8C7-F2D5FB545BC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PO_Standard_Template</Template>
  <TotalTime>42</TotalTime>
  <Words>476</Words>
  <Application>Microsoft Office PowerPoint</Application>
  <PresentationFormat>On-screen Show (16:9)</PresentationFormat>
  <Paragraphs>161</Paragraphs>
  <Slides>6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Open Sans Light</vt:lpstr>
      <vt:lpstr>Wingdings</vt:lpstr>
      <vt:lpstr>Office</vt:lpstr>
      <vt:lpstr> Exam Administration </vt:lpstr>
      <vt:lpstr>1. EQE 2024 figures</vt:lpstr>
      <vt:lpstr>PowerPoint Presentation</vt:lpstr>
      <vt:lpstr>General advantages of digital examination (1/2)</vt:lpstr>
      <vt:lpstr>General advantages of digital examination (2/2)</vt:lpstr>
      <vt:lpstr>2025 enrolments for each paper</vt:lpstr>
    </vt:vector>
  </TitlesOfParts>
  <Company>EP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of Models of Patent Attorney Qualification in the EPO</dc:title>
  <dc:creator>Jakob Kofoed</dc:creator>
  <cp:lastModifiedBy>Jakob Kofoed</cp:lastModifiedBy>
  <cp:revision>8</cp:revision>
  <dcterms:created xsi:type="dcterms:W3CDTF">2024-11-20T14:49:33Z</dcterms:created>
  <dcterms:modified xsi:type="dcterms:W3CDTF">2024-11-20T15:3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90A60A1D32F44B4FE7BD0809DC8E4</vt:lpwstr>
  </property>
  <property fmtid="{D5CDD505-2E9C-101B-9397-08002B2CF9AE}" pid="3" name="MediaServiceImageTags">
    <vt:lpwstr/>
  </property>
</Properties>
</file>